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3" r:id="rId1"/>
  </p:sldMasterIdLst>
  <p:notesMasterIdLst>
    <p:notesMasterId r:id="rId4"/>
  </p:notesMasterIdLst>
  <p:sldIdLst>
    <p:sldId id="2147472895" r:id="rId2"/>
    <p:sldId id="3616" r:id="rId3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26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66713433508333"/>
          <c:y val="8.7253704107831426E-2"/>
          <c:w val="0.84309370223029501"/>
          <c:h val="0.8390601815668831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MEAN</c:v>
                </c:pt>
              </c:strCache>
            </c:strRef>
          </c:tx>
          <c:spPr>
            <a:gradFill flip="none" rotWithShape="1">
              <a:gsLst>
                <a:gs pos="0">
                  <a:schemeClr val="accent5">
                    <a:lumMod val="60000"/>
                    <a:lumOff val="40000"/>
                    <a:tint val="66000"/>
                    <a:satMod val="160000"/>
                  </a:schemeClr>
                </a:gs>
                <a:gs pos="50000">
                  <a:schemeClr val="accent5">
                    <a:lumMod val="60000"/>
                    <a:lumOff val="40000"/>
                    <a:tint val="44500"/>
                    <a:satMod val="160000"/>
                  </a:schemeClr>
                </a:gs>
                <a:gs pos="100000">
                  <a:schemeClr val="accent5">
                    <a:lumMod val="60000"/>
                    <a:lumOff val="40000"/>
                    <a:tint val="23500"/>
                    <a:satMod val="16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 w="19050">
              <a:solidFill>
                <a:srgbClr val="00B0F0"/>
              </a:solidFill>
            </a:ln>
            <a:effectLst>
              <a:softEdge rad="0"/>
            </a:effectLst>
          </c:spPr>
          <c:invertIfNegative val="0"/>
          <c:dPt>
            <c:idx val="5"/>
            <c:invertIfNegative val="0"/>
            <c:bubble3D val="0"/>
            <c:spPr>
              <a:gradFill flip="none" rotWithShape="1">
                <a:gsLst>
                  <a:gs pos="0">
                    <a:schemeClr val="bg1">
                      <a:lumMod val="85000"/>
                      <a:shade val="30000"/>
                      <a:satMod val="115000"/>
                    </a:schemeClr>
                  </a:gs>
                  <a:gs pos="50000">
                    <a:schemeClr val="bg1">
                      <a:lumMod val="85000"/>
                      <a:shade val="67500"/>
                      <a:satMod val="115000"/>
                    </a:schemeClr>
                  </a:gs>
                  <a:gs pos="100000">
                    <a:schemeClr val="bg1">
                      <a:lumMod val="85000"/>
                      <a:shade val="100000"/>
                      <a:satMod val="115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19050">
                <a:solidFill>
                  <a:schemeClr val="tx1">
                    <a:lumMod val="75000"/>
                  </a:schemeClr>
                </a:solidFill>
              </a:ln>
              <a:effectLst>
                <a:softEdge rad="0"/>
              </a:effectLst>
            </c:spPr>
            <c:extLst>
              <c:ext xmlns:c16="http://schemas.microsoft.com/office/drawing/2014/chart" uri="{C3380CC4-5D6E-409C-BE32-E72D297353CC}">
                <c16:uniqueId val="{00000001-84EE-4778-9518-6F22567039E7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50.0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33FD-4848-9874-72289C19E77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15.5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33FD-4848-9874-72289C19E77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13.1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33FD-4848-9874-72289C19E77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7.1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33FD-4848-9874-72289C19E77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dirty="0"/>
                      <a:t>9.5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33FD-4848-9874-72289C19E77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 dirty="0"/>
                      <a:t>25.0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84EE-4778-9518-6F22567039E7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7</c:f>
              <c:strCache>
                <c:ptCount val="6"/>
                <c:pt idx="0">
                  <c:v>Eneuresis</c:v>
                </c:pt>
                <c:pt idx="1">
                  <c:v>Incontinencia</c:v>
                </c:pt>
                <c:pt idx="2">
                  <c:v>Nicturia</c:v>
                </c:pt>
                <c:pt idx="3">
                  <c:v>…</c:v>
                </c:pt>
                <c:pt idx="4">
                  <c:v>…</c:v>
                </c:pt>
                <c:pt idx="5">
                  <c:v>No recuerda</c:v>
                </c:pt>
              </c:strCache>
            </c:strRef>
          </c:cat>
          <c:val>
            <c:numRef>
              <c:f>Hoja1!$B$2:$B$7</c:f>
              <c:numCache>
                <c:formatCode>0.00</c:formatCode>
                <c:ptCount val="6"/>
                <c:pt idx="0">
                  <c:v>50</c:v>
                </c:pt>
                <c:pt idx="1">
                  <c:v>15.5</c:v>
                </c:pt>
                <c:pt idx="2">
                  <c:v>13.1</c:v>
                </c:pt>
                <c:pt idx="3">
                  <c:v>7.1</c:v>
                </c:pt>
                <c:pt idx="4">
                  <c:v>9.5</c:v>
                </c:pt>
                <c:pt idx="5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4EE-4778-9518-6F22567039E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91"/>
        <c:axId val="781002288"/>
        <c:axId val="781002616"/>
      </c:barChart>
      <c:catAx>
        <c:axId val="781002288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781002616"/>
        <c:crosses val="autoZero"/>
        <c:auto val="1"/>
        <c:lblAlgn val="ctr"/>
        <c:lblOffset val="100"/>
        <c:noMultiLvlLbl val="0"/>
      </c:catAx>
      <c:valAx>
        <c:axId val="781002616"/>
        <c:scaling>
          <c:orientation val="minMax"/>
          <c:max val="100"/>
          <c:min val="0"/>
        </c:scaling>
        <c:delete val="1"/>
        <c:axPos val="t"/>
        <c:numFmt formatCode="0.00" sourceLinked="1"/>
        <c:majorTickMark val="out"/>
        <c:minorTickMark val="none"/>
        <c:tickLblPos val="nextTo"/>
        <c:crossAx val="781002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98508A-C603-4811-88AC-0D93AD585E93}" type="datetimeFigureOut">
              <a:rPr lang="en-CA" smtClean="0"/>
              <a:t>2023-05-19</a:t>
            </a:fld>
            <a:endParaRPr lang="en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48BCF8-2CDD-499E-9C45-7FC14A83554A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037904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study reported that 31.2% of Saudi children of the chosen ages are suffered from enuresis, the majority occurred at day and night by 55.1% while 43.9% occurred only at night. Participants described types of provided treatment as follows: behavioral modification was the most commonly used by 31.6% followed by pharmacological intervention (29.6%), bed-wetting alarm (6.8%),</a:t>
            </a:r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89A06D-E6C1-4F12-8A12-F4FB3B3C57E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06245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dirty="0">
                <a:solidFill>
                  <a:srgbClr val="0070C0"/>
                </a:solidFill>
              </a:rPr>
              <a:t>*430 responses / 75.3% women / 44.7% paediatricians with more than 20 years of experience / 76% public health centres / 21% private healthcare (10.2% exclusively in the private sector, 2.1% public health centre + private hospital, 3.5% public hospital + private healthcare, 5.2% private healthcare in private practice).</a:t>
            </a:r>
          </a:p>
          <a:p>
            <a:r>
              <a:rPr lang="en-GB" dirty="0">
                <a:solidFill>
                  <a:srgbClr val="0070C0"/>
                </a:solidFill>
              </a:rPr>
              <a:t>*</a:t>
            </a:r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89A06D-E6C1-4F12-8A12-F4FB3B3C57E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25638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3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5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6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7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8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7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0.bin"/><Relationship Id="rId9" Type="http://schemas.openxmlformats.org/officeDocument/2006/relationships/image" Target="../media/image10.png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6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1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2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3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4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5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6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7.bin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12739-F681-45B7-B1BD-64846125F626}" type="datetimeFigureOut">
              <a:rPr lang="en-GB" smtClean="0"/>
              <a:t>19/05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C95CCA-56E0-4280-9F24-84D40032D07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65498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12739-F681-45B7-B1BD-64846125F626}" type="datetimeFigureOut">
              <a:rPr lang="en-GB" smtClean="0"/>
              <a:t>19/05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C95CCA-56E0-4280-9F24-84D40032D07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1074447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12739-F681-45B7-B1BD-64846125F626}" type="datetimeFigureOut">
              <a:rPr lang="en-GB" smtClean="0"/>
              <a:t>19/05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C95CCA-56E0-4280-9F24-84D40032D07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0546930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01F6BA-BB01-423B-9A26-06133A516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317" y="428734"/>
            <a:ext cx="11541978" cy="45386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05F84B-B700-43A7-B713-CFC32FA646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9316" y="1632378"/>
            <a:ext cx="11541979" cy="4351338"/>
          </a:xfrm>
        </p:spPr>
        <p:txBody>
          <a:bodyPr/>
          <a:lstStyle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E3FE298-CB1C-4C5B-8B4C-98258C7D1B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9317" y="1044574"/>
            <a:ext cx="11541978" cy="381600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ACFECBD-2E7F-47C5-894F-2C6D9C7B2F67}"/>
              </a:ext>
            </a:extLst>
          </p:cNvPr>
          <p:cNvSpPr txBox="1"/>
          <p:nvPr userDrawn="1"/>
        </p:nvSpPr>
        <p:spPr>
          <a:xfrm>
            <a:off x="310355" y="6657976"/>
            <a:ext cx="236219" cy="1666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1pPr>
            <a:lvl2pPr marL="238125" indent="-22383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lvl2pPr>
            <a:lvl3pPr marL="414338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3pPr>
            <a:lvl4pPr marL="566738" indent="-152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4pPr>
            <a:lvl5pPr marL="714375" indent="-1381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fld id="{1937EBA7-6943-4C94-B5FE-2B37DB52AF80}" type="slidenum">
              <a:rPr lang="en-GB" smtClean="0">
                <a:solidFill>
                  <a:srgbClr val="808080"/>
                </a:solidFill>
              </a:rPr>
              <a:t>‹#›</a:t>
            </a:fld>
            <a:endParaRPr lang="en-GB" dirty="0">
              <a:solidFill>
                <a:srgbClr val="808080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CF12EDC-1B50-453C-BFBD-D5B601DD8F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4963" y="6144768"/>
            <a:ext cx="10448860" cy="445008"/>
          </a:xfrm>
        </p:spPr>
        <p:txBody>
          <a:bodyPr anchor="b"/>
          <a:lstStyle>
            <a:lvl1pPr>
              <a:spcAft>
                <a:spcPts val="300"/>
              </a:spcAft>
              <a:defRPr sz="9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02893AFA-BF58-47BA-9AE9-E8FB1F830A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72798" y="6657976"/>
            <a:ext cx="1898497" cy="166687"/>
          </a:xfrm>
        </p:spPr>
        <p:txBody>
          <a:bodyPr/>
          <a:lstStyle>
            <a:lvl1pPr marL="0" indent="0" algn="r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9D7BBCF1-BC9C-4393-B676-63F680026A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65343" y="6657976"/>
            <a:ext cx="2160000" cy="166687"/>
          </a:xfrm>
        </p:spPr>
        <p:txBody>
          <a:bodyPr/>
          <a:lstStyle>
            <a:lvl1pPr marL="0" indent="0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Division/department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88E72ADA-2624-47BB-ADAD-F8C7853DB0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453" y="6657977"/>
            <a:ext cx="1278972" cy="166686"/>
          </a:xfrm>
        </p:spPr>
        <p:txBody>
          <a:bodyPr/>
          <a:lstStyle>
            <a:lvl1pPr marL="0" indent="0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Internal/ex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27827387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_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8EB443D-B97D-4CE8-8A28-DA6195E5050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76C2555-777C-4319-86AA-BD05EFD63497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597408" y="1165035"/>
            <a:ext cx="4260839" cy="238760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 – Arial, Bold, White, 44pt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4746229-EB1C-42A1-A3FB-AD583A7FC3C8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597408" y="4112310"/>
            <a:ext cx="4260835" cy="165576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/ Author / Affiliation / Date </a:t>
            </a: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68A9ADE-2AD5-4C77-B01C-A136BB578C56}"/>
              </a:ext>
            </a:extLst>
          </p:cNvPr>
          <p:cNvCxnSpPr/>
          <p:nvPr userDrawn="1"/>
        </p:nvCxnSpPr>
        <p:spPr>
          <a:xfrm>
            <a:off x="602170" y="3848894"/>
            <a:ext cx="304292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3E2AA2C6-756C-4F7D-8481-0B6DCC1404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65343" y="6657976"/>
            <a:ext cx="2160000" cy="166687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Division/department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68EB8171-BC6E-47DE-985D-6323FCF7CE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453" y="6657977"/>
            <a:ext cx="1278972" cy="166686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ternal/external use only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40F77CA-B751-456A-AF19-9D5444A4276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96061" y="6145200"/>
            <a:ext cx="975234" cy="452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21182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4A93F5FE-BEE4-41EE-A61B-98EB325A9C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76C2555-777C-4319-86AA-BD05EFD63497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597408" y="1165035"/>
            <a:ext cx="4260839" cy="238760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 – Arial, Bold, White, 44pt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4746229-EB1C-42A1-A3FB-AD583A7FC3C8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597408" y="4112310"/>
            <a:ext cx="4260835" cy="165576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/ Author / Affiliation / Date </a:t>
            </a: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68A9ADE-2AD5-4C77-B01C-A136BB578C56}"/>
              </a:ext>
            </a:extLst>
          </p:cNvPr>
          <p:cNvCxnSpPr/>
          <p:nvPr userDrawn="1"/>
        </p:nvCxnSpPr>
        <p:spPr>
          <a:xfrm>
            <a:off x="602170" y="3848894"/>
            <a:ext cx="304292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BE6437D8-B488-43F4-8235-6E52A200F9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65343" y="6657976"/>
            <a:ext cx="2160000" cy="166687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Division/department</a:t>
            </a:r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6B0A217E-6722-4C7A-8361-382B90DBF7A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453" y="6657977"/>
            <a:ext cx="1278972" cy="166686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ternal/external use only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5E9734D-CCA6-4CA1-BB8B-2BD79C8C53F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96061" y="6145200"/>
            <a:ext cx="975234" cy="452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0719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AEA1271-3CCD-4BD0-871D-B8F70F59930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76C2555-777C-4319-86AA-BD05EFD63497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597408" y="1165035"/>
            <a:ext cx="4260839" cy="238760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 – Arial, Bold, White, 44pt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4746229-EB1C-42A1-A3FB-AD583A7FC3C8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597408" y="4112310"/>
            <a:ext cx="4260835" cy="165576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/ Author / Affiliation / Date </a:t>
            </a: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68A9ADE-2AD5-4C77-B01C-A136BB578C56}"/>
              </a:ext>
            </a:extLst>
          </p:cNvPr>
          <p:cNvCxnSpPr/>
          <p:nvPr userDrawn="1"/>
        </p:nvCxnSpPr>
        <p:spPr>
          <a:xfrm>
            <a:off x="602170" y="3848894"/>
            <a:ext cx="304292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C15313E5-F04B-492F-95EE-144A2D9E1A4C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965343" y="6657976"/>
            <a:ext cx="2160000" cy="166687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Division/department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725E83B7-A734-46B3-97E5-93EFD05D45F6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66453" y="6657977"/>
            <a:ext cx="1278972" cy="166686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ternal/external use only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17905E2-0DBC-4073-B39B-F3E738F10E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96061" y="6145200"/>
            <a:ext cx="975234" cy="452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30652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EEA9ED4C-C17D-4440-9372-965127663A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76C2555-777C-4319-86AA-BD05EFD63497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597408" y="1165035"/>
            <a:ext cx="4260839" cy="238760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 – Arial, Bold, White, 44pt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4746229-EB1C-42A1-A3FB-AD583A7FC3C8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597408" y="4112310"/>
            <a:ext cx="4260835" cy="165576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/ Author / Affiliation / Date </a:t>
            </a:r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68A9ADE-2AD5-4C77-B01C-A136BB578C56}"/>
              </a:ext>
            </a:extLst>
          </p:cNvPr>
          <p:cNvCxnSpPr/>
          <p:nvPr userDrawn="1"/>
        </p:nvCxnSpPr>
        <p:spPr>
          <a:xfrm>
            <a:off x="602170" y="3848894"/>
            <a:ext cx="304292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58306B71-A8A4-4C81-B4F8-8D24AB27C6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65343" y="6657976"/>
            <a:ext cx="2160000" cy="166687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Division/department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7D30C419-9519-4487-8950-C5C776FD17C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453" y="6657977"/>
            <a:ext cx="1278972" cy="166686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ternal/external use only 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C25731F-7F3D-47A6-B9BD-4854A34AD36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96061" y="6145200"/>
            <a:ext cx="975234" cy="452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209684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Background Section Hea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9D574D3-F6F6-401C-AA53-342322CF27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76C2555-777C-4319-86AA-BD05EFD63497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597408" y="1017547"/>
            <a:ext cx="4260839" cy="2387600"/>
          </a:xfrm>
        </p:spPr>
        <p:txBody>
          <a:bodyPr anchor="b">
            <a:noAutofit/>
          </a:bodyPr>
          <a:lstStyle>
            <a:lvl1pPr algn="l">
              <a:defRPr sz="3200" b="1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Section heading – Arial, Bold, Blue, 32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4746229-EB1C-42A1-A3FB-AD583A7FC3C8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597408" y="3429001"/>
            <a:ext cx="4260837" cy="165576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heading – Arial, Regular,</a:t>
            </a:r>
            <a:br>
              <a:rPr lang="en-GB" dirty="0"/>
            </a:br>
            <a:r>
              <a:rPr lang="en-GB" dirty="0"/>
              <a:t>Black, 20pt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FC8D72CF-6C4F-415D-A440-B6AD0ABAEE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65343" y="6657976"/>
            <a:ext cx="2160000" cy="166687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Division/departmen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5D37B660-ACE2-4743-9778-3FE9ADB72C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453" y="6657977"/>
            <a:ext cx="1278972" cy="166686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ternal/external use only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C25731F-7F3D-47A6-B9BD-4854A34AD36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96061" y="6145200"/>
            <a:ext cx="975234" cy="452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5380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F48467-501A-43D6-85B7-7F01499F1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317" y="428733"/>
            <a:ext cx="11541980" cy="4547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D4813A-FDF5-42E2-92A7-043E4E36C8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29316" y="1632378"/>
            <a:ext cx="5460558" cy="4351338"/>
          </a:xfrm>
        </p:spPr>
        <p:txBody>
          <a:bodyPr/>
          <a:lstStyle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FD71F18-708F-4D97-BC76-799A9104BED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10739" y="1632378"/>
            <a:ext cx="5460558" cy="4351338"/>
          </a:xfrm>
        </p:spPr>
        <p:txBody>
          <a:bodyPr/>
          <a:lstStyle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4384F61-9FEF-4AD4-954F-4A574129A2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9317" y="1044574"/>
            <a:ext cx="11541980" cy="381600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1F927F6-D469-42D9-8151-DABF11ABD1B7}"/>
              </a:ext>
            </a:extLst>
          </p:cNvPr>
          <p:cNvSpPr txBox="1"/>
          <p:nvPr userDrawn="1"/>
        </p:nvSpPr>
        <p:spPr>
          <a:xfrm>
            <a:off x="310355" y="6657976"/>
            <a:ext cx="236219" cy="1666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1pPr>
            <a:lvl2pPr marL="238125" indent="-22383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lvl2pPr>
            <a:lvl3pPr marL="414338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3pPr>
            <a:lvl4pPr marL="566738" indent="-152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4pPr>
            <a:lvl5pPr marL="714375" indent="-1381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fld id="{1937EBA7-6943-4C94-B5FE-2B37DB52AF80}" type="slidenum">
              <a:rPr lang="en-GB" smtClean="0">
                <a:solidFill>
                  <a:srgbClr val="808080"/>
                </a:solidFill>
              </a:rPr>
              <a:t>‹#›</a:t>
            </a:fld>
            <a:endParaRPr lang="en-GB" dirty="0">
              <a:solidFill>
                <a:srgbClr val="808080"/>
              </a:solidFill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E4990291-6A55-4BE6-AFD6-4C7376ACA8C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4963" y="6144768"/>
            <a:ext cx="10448860" cy="445008"/>
          </a:xfrm>
        </p:spPr>
        <p:txBody>
          <a:bodyPr anchor="b"/>
          <a:lstStyle>
            <a:lvl1pPr>
              <a:spcAft>
                <a:spcPts val="300"/>
              </a:spcAft>
              <a:defRPr sz="9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F5810635-6B37-4DC5-92B2-FBF00717BC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72798" y="6657976"/>
            <a:ext cx="1898499" cy="166687"/>
          </a:xfrm>
        </p:spPr>
        <p:txBody>
          <a:bodyPr/>
          <a:lstStyle>
            <a:lvl1pPr marL="0" indent="0" algn="r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2BA332-C2E6-44CC-A112-A9CEE3E05F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65343" y="6657976"/>
            <a:ext cx="2160000" cy="166687"/>
          </a:xfrm>
        </p:spPr>
        <p:txBody>
          <a:bodyPr/>
          <a:lstStyle>
            <a:lvl1pPr marL="0" indent="0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Division/department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EDCE53AE-FA9B-4E78-B262-CD82CDA0E5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453" y="6657977"/>
            <a:ext cx="1278972" cy="166686"/>
          </a:xfrm>
        </p:spPr>
        <p:txBody>
          <a:bodyPr/>
          <a:lstStyle>
            <a:lvl1pPr marL="0" indent="0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Internal/ex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407774092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75FC8F6F-C516-4CB1-A8D1-443E751AE6F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08725" y="1704975"/>
            <a:ext cx="5562572" cy="40100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F48467-501A-43D6-85B7-7F01499F1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317" y="428734"/>
            <a:ext cx="11541980" cy="45386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D4813A-FDF5-42E2-92A7-043E4E36C8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29316" y="1632378"/>
            <a:ext cx="5460558" cy="4351338"/>
          </a:xfrm>
        </p:spPr>
        <p:txBody>
          <a:bodyPr/>
          <a:lstStyle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4384F61-9FEF-4AD4-954F-4A574129A2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9317" y="1044575"/>
            <a:ext cx="11541980" cy="381000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B4D1605-B9B4-43B5-BD6A-249947DA6998}"/>
              </a:ext>
            </a:extLst>
          </p:cNvPr>
          <p:cNvSpPr txBox="1"/>
          <p:nvPr userDrawn="1"/>
        </p:nvSpPr>
        <p:spPr>
          <a:xfrm>
            <a:off x="310355" y="6657976"/>
            <a:ext cx="236219" cy="1666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1pPr>
            <a:lvl2pPr marL="238125" indent="-22383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lvl2pPr>
            <a:lvl3pPr marL="414338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3pPr>
            <a:lvl4pPr marL="566738" indent="-152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4pPr>
            <a:lvl5pPr marL="714375" indent="-1381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fld id="{1937EBA7-6943-4C94-B5FE-2B37DB52AF80}" type="slidenum">
              <a:rPr lang="en-GB" smtClean="0">
                <a:solidFill>
                  <a:srgbClr val="808080"/>
                </a:solidFill>
              </a:rPr>
              <a:t>‹#›</a:t>
            </a:fld>
            <a:endParaRPr lang="en-GB" dirty="0">
              <a:solidFill>
                <a:srgbClr val="808080"/>
              </a:solidFill>
            </a:endParaRP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FD70C46-7BCF-4B3C-AC10-9DD0B4544C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4963" y="6144768"/>
            <a:ext cx="10448860" cy="445008"/>
          </a:xfrm>
        </p:spPr>
        <p:txBody>
          <a:bodyPr anchor="b"/>
          <a:lstStyle>
            <a:lvl1pPr>
              <a:spcAft>
                <a:spcPts val="300"/>
              </a:spcAft>
              <a:defRPr sz="9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363D466-54EC-4C02-A9B6-0343FA199D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85560" y="1813560"/>
            <a:ext cx="777240" cy="74676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952E939E-54F9-4DCE-907A-BB5FAE25F1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56620" y="1813558"/>
            <a:ext cx="777240" cy="746761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5F490283-5B7A-4366-9CFD-4B6CE38F39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85558" y="4907280"/>
            <a:ext cx="777241" cy="74676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3CCF25D-BA59-415F-AEBB-74D53E20F8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56620" y="4907280"/>
            <a:ext cx="723900" cy="746760"/>
          </a:xfrm>
          <a:prstGeom prst="rect">
            <a:avLst/>
          </a:prstGeom>
        </p:spPr>
      </p:pic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29EE9725-8C69-49DE-ACA6-3D6DF7DDED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72798" y="6657976"/>
            <a:ext cx="1898499" cy="166687"/>
          </a:xfrm>
        </p:spPr>
        <p:txBody>
          <a:bodyPr/>
          <a:lstStyle>
            <a:lvl1pPr marL="0" indent="0" algn="r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19E2C162-8EA2-408B-9C19-81DA842B53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65343" y="6657976"/>
            <a:ext cx="2160000" cy="166687"/>
          </a:xfrm>
        </p:spPr>
        <p:txBody>
          <a:bodyPr/>
          <a:lstStyle>
            <a:lvl1pPr marL="0" indent="0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Division/department</a:t>
            </a:r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AE98CFDD-5ABC-4E2B-87F0-DAC4CC815D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453" y="6657977"/>
            <a:ext cx="1278972" cy="166686"/>
          </a:xfrm>
        </p:spPr>
        <p:txBody>
          <a:bodyPr/>
          <a:lstStyle>
            <a:lvl1pPr marL="0" indent="0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Internal/ex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16952903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12739-F681-45B7-B1BD-64846125F626}" type="datetimeFigureOut">
              <a:rPr lang="en-GB" smtClean="0"/>
              <a:t>19/05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C95CCA-56E0-4280-9F24-84D40032D07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3387754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9F2801-8A53-4D26-950A-EA94FEC1BA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317" y="428734"/>
            <a:ext cx="11541980" cy="45386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902A3E2A-B5D6-4020-A772-4501D327F16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9317" y="1044575"/>
            <a:ext cx="11541980" cy="381000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294ABDB-5B6C-4365-94A3-F3F49231FEA3}"/>
              </a:ext>
            </a:extLst>
          </p:cNvPr>
          <p:cNvSpPr txBox="1"/>
          <p:nvPr userDrawn="1"/>
        </p:nvSpPr>
        <p:spPr>
          <a:xfrm>
            <a:off x="310355" y="6657976"/>
            <a:ext cx="236219" cy="1666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1pPr>
            <a:lvl2pPr marL="238125" indent="-22383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lvl2pPr>
            <a:lvl3pPr marL="414338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3pPr>
            <a:lvl4pPr marL="566738" indent="-152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4pPr>
            <a:lvl5pPr marL="714375" indent="-1381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fld id="{1937EBA7-6943-4C94-B5FE-2B37DB52AF80}" type="slidenum">
              <a:rPr lang="en-GB" smtClean="0">
                <a:solidFill>
                  <a:srgbClr val="808080"/>
                </a:solidFill>
              </a:rPr>
              <a:t>‹#›</a:t>
            </a:fld>
            <a:endParaRPr lang="en-GB" dirty="0">
              <a:solidFill>
                <a:srgbClr val="808080"/>
              </a:solidFill>
            </a:endParaRP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A76ABC7-5FC6-45FF-A38E-34F09426704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4963" y="6144768"/>
            <a:ext cx="10448860" cy="445008"/>
          </a:xfrm>
        </p:spPr>
        <p:txBody>
          <a:bodyPr anchor="b"/>
          <a:lstStyle>
            <a:lvl1pPr>
              <a:spcAft>
                <a:spcPts val="300"/>
              </a:spcAft>
              <a:defRPr sz="9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57DB7278-F8A8-4CFE-A5BD-9D745779C7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72798" y="6657976"/>
            <a:ext cx="1898499" cy="166687"/>
          </a:xfrm>
        </p:spPr>
        <p:txBody>
          <a:bodyPr/>
          <a:lstStyle>
            <a:lvl1pPr marL="0" indent="0" algn="r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37B9EDA9-A189-4668-A24C-4DA764EBAE2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65343" y="6657976"/>
            <a:ext cx="2160000" cy="166687"/>
          </a:xfrm>
        </p:spPr>
        <p:txBody>
          <a:bodyPr/>
          <a:lstStyle>
            <a:lvl1pPr marL="0" indent="0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Division/department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8DAE012F-C5AA-42DA-AB46-98C71559C9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453" y="6657977"/>
            <a:ext cx="1278972" cy="166686"/>
          </a:xfrm>
        </p:spPr>
        <p:txBody>
          <a:bodyPr/>
          <a:lstStyle>
            <a:lvl1pPr marL="0" indent="0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Internal/ex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20092983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01F6BA-BB01-423B-9A26-06133A516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317" y="428734"/>
            <a:ext cx="11541978" cy="45386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05F84B-B700-43A7-B713-CFC32FA646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9316" y="1632378"/>
            <a:ext cx="11541979" cy="435133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8CE"/>
              </a:buClr>
              <a:buSzTx/>
              <a:buFont typeface="Arial" panose="020B0604020202020204" pitchFamily="34" charset="0"/>
              <a:buNone/>
              <a:tabLst/>
              <a:def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defRPr>
            </a:lvl1pPr>
            <a:lvl2pPr marL="238125" marR="0" indent="-2238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8CE"/>
              </a:buClr>
              <a:buSzTx/>
              <a:buFont typeface="Arial" panose="020B0604020202020204" pitchFamily="34" charset="0"/>
              <a:buChar char="•"/>
              <a:tabLst/>
              <a:def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defRPr>
            </a:lvl2pPr>
            <a:lvl3pPr marL="414338" marR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8CE"/>
              </a:buClr>
              <a:buSzTx/>
              <a:buFont typeface="Arial" panose="020B0604020202020204" pitchFamily="34" charset="0"/>
              <a:buChar char="•"/>
              <a:tabLst/>
              <a:def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defRPr>
            </a:lvl3pPr>
            <a:lvl4pPr marL="566738" marR="0" indent="-1524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8CE"/>
              </a:buClr>
              <a:buSzTx/>
              <a:buFont typeface="Arial" panose="020B0604020202020204" pitchFamily="34" charset="0"/>
              <a:buChar char="•"/>
              <a:tabLst/>
              <a:def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defRPr>
            </a:lvl4pPr>
            <a:lvl5pPr marL="714375" marR="0" indent="-138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8CE"/>
              </a:buClr>
              <a:buSzTx/>
              <a:buFont typeface="Arial" panose="020B0604020202020204" pitchFamily="34" charset="0"/>
              <a:buChar char="•"/>
              <a:tabLst/>
              <a:def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8CE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dit Master text styles</a:t>
            </a:r>
          </a:p>
          <a:p>
            <a:pPr marL="238125" marR="0" lvl="1" indent="-2238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8C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cond level</a:t>
            </a:r>
          </a:p>
          <a:p>
            <a:pPr marL="414338" marR="0" lvl="2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8C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rd level</a:t>
            </a:r>
          </a:p>
          <a:p>
            <a:pPr marL="566738" marR="0" lvl="3" indent="-1524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8C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urth level</a:t>
            </a:r>
          </a:p>
          <a:p>
            <a:pPr marL="714375" marR="0" lvl="4" indent="-138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8C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E3FE298-CB1C-4C5B-8B4C-98258C7D1B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9317" y="1044574"/>
            <a:ext cx="11541978" cy="426751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accent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ACFECBD-2E7F-47C5-894F-2C6D9C7B2F67}"/>
              </a:ext>
            </a:extLst>
          </p:cNvPr>
          <p:cNvSpPr txBox="1"/>
          <p:nvPr userDrawn="1"/>
        </p:nvSpPr>
        <p:spPr>
          <a:xfrm>
            <a:off x="310355" y="6657976"/>
            <a:ext cx="236219" cy="1666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1pPr>
            <a:lvl2pPr marL="238125" indent="-22383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lvl2pPr>
            <a:lvl3pPr marL="414338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3pPr>
            <a:lvl4pPr marL="566738" indent="-152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4pPr>
            <a:lvl5pPr marL="714375" indent="-1381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fld id="{1937EBA7-6943-4C94-B5FE-2B37DB52AF80}" type="slidenum">
              <a:rPr lang="en-GB" smtClean="0">
                <a:solidFill>
                  <a:srgbClr val="808080"/>
                </a:solidFill>
              </a:rPr>
              <a:t>‹#›</a:t>
            </a:fld>
            <a:endParaRPr lang="en-GB" dirty="0">
              <a:solidFill>
                <a:srgbClr val="808080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CF12EDC-1B50-453C-BFBD-D5B601DD8F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4963" y="6144768"/>
            <a:ext cx="10448860" cy="445008"/>
          </a:xfrm>
        </p:spPr>
        <p:txBody>
          <a:bodyPr anchor="b">
            <a:normAutofit/>
          </a:bodyPr>
          <a:lstStyle>
            <a:lvl1pPr>
              <a:spcAft>
                <a:spcPts val="300"/>
              </a:spcAft>
              <a:defRPr sz="9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02893AFA-BF58-47BA-9AE9-E8FB1F830A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72798" y="6657976"/>
            <a:ext cx="1898497" cy="166687"/>
          </a:xfrm>
        </p:spPr>
        <p:txBody>
          <a:bodyPr>
            <a:normAutofit/>
          </a:bodyPr>
          <a:lstStyle>
            <a:lvl1pPr marL="0" indent="0" algn="r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9D7BBCF1-BC9C-4393-B676-63F680026A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65343" y="6657976"/>
            <a:ext cx="2160000" cy="166687"/>
          </a:xfrm>
        </p:spPr>
        <p:txBody>
          <a:bodyPr/>
          <a:lstStyle>
            <a:lvl1pPr marL="0" indent="0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Division/department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88E72ADA-2624-47BB-ADAD-F8C7853DB0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453" y="6657977"/>
            <a:ext cx="1278972" cy="166686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 dirty="0"/>
              <a:t>Internal/ex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121817123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F48467-501A-43D6-85B7-7F01499F1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317" y="428733"/>
            <a:ext cx="11541980" cy="45478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D4813A-FDF5-42E2-92A7-043E4E36C8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29316" y="1632378"/>
            <a:ext cx="5460558" cy="435133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8CE"/>
              </a:buClr>
              <a:buSzTx/>
              <a:buFont typeface="Arial" panose="020B0604020202020204" pitchFamily="34" charset="0"/>
              <a:buNone/>
              <a:tabLst/>
              <a:def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defRPr>
            </a:lvl1pPr>
            <a:lvl2pPr marL="238125" marR="0" indent="-2238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8CE"/>
              </a:buClr>
              <a:buSzTx/>
              <a:buFont typeface="Arial" panose="020B0604020202020204" pitchFamily="34" charset="0"/>
              <a:buChar char="•"/>
              <a:tabLst/>
              <a:def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defRPr>
            </a:lvl2pPr>
            <a:lvl3pPr marL="414338" marR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8CE"/>
              </a:buClr>
              <a:buSzTx/>
              <a:buFont typeface="Arial" panose="020B0604020202020204" pitchFamily="34" charset="0"/>
              <a:buChar char="•"/>
              <a:tabLst/>
              <a:def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defRPr>
            </a:lvl3pPr>
            <a:lvl4pPr marL="566738" marR="0" indent="-1524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8CE"/>
              </a:buClr>
              <a:buSzTx/>
              <a:buFont typeface="Arial" panose="020B0604020202020204" pitchFamily="34" charset="0"/>
              <a:buChar char="•"/>
              <a:tabLst/>
              <a:def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defRPr>
            </a:lvl4pPr>
            <a:lvl5pPr marL="714375" marR="0" indent="-138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8CE"/>
              </a:buClr>
              <a:buSzTx/>
              <a:buFont typeface="Arial" panose="020B0604020202020204" pitchFamily="34" charset="0"/>
              <a:buChar char="•"/>
              <a:tabLst/>
              <a:def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8CE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dit Master text styles</a:t>
            </a:r>
          </a:p>
          <a:p>
            <a:pPr marL="238125" marR="0" lvl="1" indent="-2238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8C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cond level</a:t>
            </a:r>
          </a:p>
          <a:p>
            <a:pPr marL="414338" marR="0" lvl="2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8C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rd level</a:t>
            </a:r>
          </a:p>
          <a:p>
            <a:pPr marL="566738" marR="0" lvl="3" indent="-1524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8C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urth level</a:t>
            </a:r>
          </a:p>
          <a:p>
            <a:pPr marL="714375" marR="0" lvl="4" indent="-138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8C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FD71F18-708F-4D97-BC76-799A9104BED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10739" y="1632378"/>
            <a:ext cx="5460558" cy="435133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8CE"/>
              </a:buClr>
              <a:buSzTx/>
              <a:buFont typeface="Arial" panose="020B0604020202020204" pitchFamily="34" charset="0"/>
              <a:buNone/>
              <a:tabLst/>
              <a:def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defRPr>
            </a:lvl1pPr>
            <a:lvl2pPr marL="238125" marR="0" indent="-2238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8CE"/>
              </a:buClr>
              <a:buSzTx/>
              <a:buFont typeface="Arial" panose="020B0604020202020204" pitchFamily="34" charset="0"/>
              <a:buChar char="•"/>
              <a:tabLst/>
              <a:def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defRPr>
            </a:lvl2pPr>
            <a:lvl3pPr marL="414338" marR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8CE"/>
              </a:buClr>
              <a:buSzTx/>
              <a:buFont typeface="Arial" panose="020B0604020202020204" pitchFamily="34" charset="0"/>
              <a:buChar char="•"/>
              <a:tabLst/>
              <a:def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defRPr>
            </a:lvl3pPr>
            <a:lvl4pPr marL="566738" marR="0" indent="-1524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8CE"/>
              </a:buClr>
              <a:buSzTx/>
              <a:buFont typeface="Arial" panose="020B0604020202020204" pitchFamily="34" charset="0"/>
              <a:buChar char="•"/>
              <a:tabLst/>
              <a:def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defRPr>
            </a:lvl4pPr>
            <a:lvl5pPr marL="714375" marR="0" indent="-138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8CE"/>
              </a:buClr>
              <a:buSzTx/>
              <a:buFont typeface="Arial" panose="020B0604020202020204" pitchFamily="34" charset="0"/>
              <a:buChar char="•"/>
              <a:tabLst/>
              <a:def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8CE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dit Master text styles</a:t>
            </a:r>
          </a:p>
          <a:p>
            <a:pPr marL="238125" marR="0" lvl="1" indent="-2238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8C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cond level</a:t>
            </a:r>
          </a:p>
          <a:p>
            <a:pPr marL="414338" marR="0" lvl="2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8C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rd level</a:t>
            </a:r>
          </a:p>
          <a:p>
            <a:pPr marL="566738" marR="0" lvl="3" indent="-1524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8C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urth level</a:t>
            </a:r>
          </a:p>
          <a:p>
            <a:pPr marL="714375" marR="0" lvl="4" indent="-138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8C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4384F61-9FEF-4AD4-954F-4A574129A2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9317" y="1044574"/>
            <a:ext cx="11541980" cy="426751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accent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1F927F6-D469-42D9-8151-DABF11ABD1B7}"/>
              </a:ext>
            </a:extLst>
          </p:cNvPr>
          <p:cNvSpPr txBox="1"/>
          <p:nvPr userDrawn="1"/>
        </p:nvSpPr>
        <p:spPr>
          <a:xfrm>
            <a:off x="310355" y="6657976"/>
            <a:ext cx="236219" cy="1666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1pPr>
            <a:lvl2pPr marL="238125" indent="-22383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lvl2pPr>
            <a:lvl3pPr marL="414338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3pPr>
            <a:lvl4pPr marL="566738" indent="-152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4pPr>
            <a:lvl5pPr marL="714375" indent="-1381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fld id="{1937EBA7-6943-4C94-B5FE-2B37DB52AF80}" type="slidenum">
              <a:rPr lang="en-GB" smtClean="0">
                <a:solidFill>
                  <a:srgbClr val="808080"/>
                </a:solidFill>
              </a:rPr>
              <a:t>‹#›</a:t>
            </a:fld>
            <a:endParaRPr lang="en-GB" dirty="0">
              <a:solidFill>
                <a:srgbClr val="808080"/>
              </a:solidFill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E4990291-6A55-4BE6-AFD6-4C7376ACA8C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4963" y="6144768"/>
            <a:ext cx="10448860" cy="445008"/>
          </a:xfrm>
        </p:spPr>
        <p:txBody>
          <a:bodyPr anchor="b"/>
          <a:lstStyle>
            <a:lvl1pPr>
              <a:spcAft>
                <a:spcPts val="300"/>
              </a:spcAft>
              <a:defRPr sz="9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F5810635-6B37-4DC5-92B2-FBF00717BC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72798" y="6657976"/>
            <a:ext cx="1898499" cy="166687"/>
          </a:xfrm>
        </p:spPr>
        <p:txBody>
          <a:bodyPr/>
          <a:lstStyle>
            <a:lvl1pPr marL="0" indent="0" algn="r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2BA332-C2E6-44CC-A112-A9CEE3E05F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65343" y="6657976"/>
            <a:ext cx="2160000" cy="166687"/>
          </a:xfrm>
        </p:spPr>
        <p:txBody>
          <a:bodyPr/>
          <a:lstStyle>
            <a:lvl1pPr marL="0" indent="0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Division/department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EDCE53AE-FA9B-4E78-B262-CD82CDA0E5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453" y="6657977"/>
            <a:ext cx="1278972" cy="166686"/>
          </a:xfrm>
        </p:spPr>
        <p:txBody>
          <a:bodyPr>
            <a:normAutofit/>
          </a:bodyPr>
          <a:lstStyle>
            <a:lvl1pPr marL="0" indent="0"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 dirty="0"/>
              <a:t>Internal/ex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11376563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9F2801-8A53-4D26-950A-EA94FEC1BA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9317" y="428734"/>
            <a:ext cx="11541980" cy="453862"/>
          </a:xfrm>
          <a:prstGeom prst="rect">
            <a:avLst/>
          </a:prstGeom>
        </p:spPr>
        <p:txBody>
          <a:bodyPr/>
          <a:lstStyle/>
          <a:p>
            <a:r>
              <a:rPr lang="en-GB"/>
              <a:t>Slide title – Arial, Bold, Blue, 32p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1DDF3BA-A649-4A01-B7EB-7445E7644AEE}"/>
              </a:ext>
            </a:extLst>
          </p:cNvPr>
          <p:cNvSpPr txBox="1"/>
          <p:nvPr userDrawn="1"/>
        </p:nvSpPr>
        <p:spPr>
          <a:xfrm>
            <a:off x="310355" y="6657976"/>
            <a:ext cx="236219" cy="1666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1pPr>
            <a:lvl2pPr marL="238125" indent="-22383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lvl2pPr>
            <a:lvl3pPr marL="414338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3pPr>
            <a:lvl4pPr marL="566738" indent="-152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4pPr>
            <a:lvl5pPr marL="714375" indent="-1381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fld id="{1937EBA7-6943-4C94-B5FE-2B37DB52AF80}" type="slidenum">
              <a:rPr lang="en-GB" smtClean="0">
                <a:solidFill>
                  <a:srgbClr val="808080"/>
                </a:solidFill>
              </a:rPr>
              <a:t>‹#›</a:t>
            </a:fld>
            <a:endParaRPr lang="en-GB" dirty="0">
              <a:solidFill>
                <a:srgbClr val="808080"/>
              </a:solidFill>
            </a:endParaRPr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B9CF63D3-CB09-4B39-91B7-1A9290D5C8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72798" y="6657976"/>
            <a:ext cx="1898499" cy="166687"/>
          </a:xfrm>
        </p:spPr>
        <p:txBody>
          <a:bodyPr/>
          <a:lstStyle>
            <a:lvl1pPr marL="0" indent="0" algn="r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/>
              <a:t>Section title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AEDD6812-E0E1-4621-BF85-370DB85180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65343" y="6657976"/>
            <a:ext cx="2160000" cy="166687"/>
          </a:xfrm>
        </p:spPr>
        <p:txBody>
          <a:bodyPr/>
          <a:lstStyle>
            <a:lvl1pPr marL="0" indent="0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/>
              <a:t>Division/department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D62CAACF-2A7A-4405-A4B1-527C6B29B8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453" y="6657977"/>
            <a:ext cx="1278972" cy="166686"/>
          </a:xfrm>
        </p:spPr>
        <p:txBody>
          <a:bodyPr/>
          <a:lstStyle>
            <a:lvl1pPr marL="0" indent="0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/>
              <a:t>Internal/external use only 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BA07D43-6D6B-4CA8-A98D-1F3383630E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6144768"/>
            <a:ext cx="9841003" cy="445008"/>
          </a:xfrm>
        </p:spPr>
        <p:txBody>
          <a:bodyPr anchor="b"/>
          <a:lstStyle>
            <a:lvl1pPr>
              <a:spcAft>
                <a:spcPts val="300"/>
              </a:spcAft>
              <a:defRPr sz="9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r>
              <a:rPr lang="en-GB"/>
              <a:t>References and footnotes – Arial, Regular, Black, 9pt</a:t>
            </a:r>
          </a:p>
        </p:txBody>
      </p:sp>
    </p:spTree>
    <p:extLst>
      <p:ext uri="{BB962C8B-B14F-4D97-AF65-F5344CB8AC3E}">
        <p14:creationId xmlns:p14="http://schemas.microsoft.com/office/powerpoint/2010/main" val="87867555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B74F841-183E-40BF-B4AF-4AC926C31A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B74F841-183E-40BF-B4AF-4AC926C31A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4D7958A-1133-49A9-ADE2-9A388515EBD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84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01F6BA-BB01-423B-9A26-06133A5161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9317" y="428735"/>
            <a:ext cx="11541978" cy="721271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Slide title – Arial, Bold, Blue, 32p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05F84B-B700-43A7-B713-CFC32FA646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317" y="1632377"/>
            <a:ext cx="11541979" cy="1104927"/>
          </a:xfrm>
        </p:spPr>
        <p:txBody>
          <a:bodyPr/>
          <a:lstStyle>
            <a:lvl5pPr>
              <a:defRPr sz="1194"/>
            </a:lvl5pPr>
          </a:lstStyle>
          <a:p>
            <a:r>
              <a:rPr lang="en-GB" dirty="0"/>
              <a:t>First level text – Arial, Regular, Black, 20pt</a:t>
            </a:r>
          </a:p>
          <a:p>
            <a:pPr lvl="1"/>
            <a:r>
              <a:rPr lang="en-GB" dirty="0"/>
              <a:t>Second level text – Arial, Regular, Black, 18pt</a:t>
            </a:r>
          </a:p>
          <a:p>
            <a:pPr lvl="2"/>
            <a:r>
              <a:rPr lang="en-GB" dirty="0"/>
              <a:t>Third level text – Arial, Regular, Black, 16pt</a:t>
            </a:r>
          </a:p>
          <a:p>
            <a:pPr lvl="3"/>
            <a:r>
              <a:rPr lang="en-GB" dirty="0"/>
              <a:t>Fourth level text – Arial, Regular, Black, 14p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E3FE298-CB1C-4C5B-8B4C-98258C7D1B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9317" y="1044574"/>
            <a:ext cx="11541978" cy="381600"/>
          </a:xfrm>
        </p:spPr>
        <p:txBody>
          <a:bodyPr/>
          <a:lstStyle>
            <a:lvl1pPr>
              <a:defRPr sz="2388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r>
              <a:rPr lang="en-GB" dirty="0"/>
              <a:t>Subtitle – Arial, Regular, Blue, 24p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ACFECBD-2E7F-47C5-894F-2C6D9C7B2F67}"/>
              </a:ext>
            </a:extLst>
          </p:cNvPr>
          <p:cNvSpPr txBox="1"/>
          <p:nvPr userDrawn="1"/>
        </p:nvSpPr>
        <p:spPr>
          <a:xfrm>
            <a:off x="310356" y="6657977"/>
            <a:ext cx="236219" cy="1666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1pPr>
            <a:lvl2pPr marL="238125" indent="-22383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lvl2pPr>
            <a:lvl3pPr marL="414338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3pPr>
            <a:lvl4pPr marL="566738" indent="-152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4pPr>
            <a:lvl5pPr marL="714375" indent="-1381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fld id="{1937EBA7-6943-4C94-B5FE-2B37DB52AF80}" type="slidenum">
              <a:rPr lang="en-GB" sz="895" smtClean="0">
                <a:solidFill>
                  <a:srgbClr val="808080"/>
                </a:solidFill>
              </a:rPr>
              <a:t>‹#›</a:t>
            </a:fld>
            <a:endParaRPr lang="en-GB" sz="895" dirty="0">
              <a:solidFill>
                <a:srgbClr val="808080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CF12EDC-1B50-453C-BFBD-D5B601DD8F4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4" y="6451980"/>
            <a:ext cx="9881379" cy="137796"/>
          </a:xfrm>
        </p:spPr>
        <p:txBody>
          <a:bodyPr anchor="b"/>
          <a:lstStyle>
            <a:lvl1pPr>
              <a:spcAft>
                <a:spcPts val="298"/>
              </a:spcAft>
              <a:defRPr sz="895"/>
            </a:lvl1pPr>
            <a:lvl2pPr>
              <a:defRPr sz="1095"/>
            </a:lvl2pPr>
            <a:lvl3pPr>
              <a:defRPr sz="1045"/>
            </a:lvl3pPr>
            <a:lvl4pPr>
              <a:defRPr sz="995"/>
            </a:lvl4pPr>
            <a:lvl5pPr>
              <a:defRPr sz="995"/>
            </a:lvl5pPr>
          </a:lstStyle>
          <a:p>
            <a:r>
              <a:rPr lang="en-GB" dirty="0"/>
              <a:t>References and footnotes – Arial, Regular, Black, 9pt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9D7BBCF1-BC9C-4393-B676-63F680026A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65343" y="6657977"/>
            <a:ext cx="2160000" cy="137796"/>
          </a:xfrm>
        </p:spPr>
        <p:txBody>
          <a:bodyPr/>
          <a:lstStyle>
            <a:lvl1pPr marL="0" indent="0">
              <a:buNone/>
              <a:defRPr sz="895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Division/department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88E72ADA-2624-47BB-ADAD-F8C7853DB0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453" y="6657977"/>
            <a:ext cx="1278972" cy="137796"/>
          </a:xfrm>
        </p:spPr>
        <p:txBody>
          <a:bodyPr/>
          <a:lstStyle>
            <a:lvl1pPr marL="0" indent="0">
              <a:buNone/>
              <a:defRPr sz="895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Internal/external use only 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53229405-C160-44D5-AFA4-951D0EB382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72799" y="6657977"/>
            <a:ext cx="1898499" cy="137796"/>
          </a:xfrm>
        </p:spPr>
        <p:txBody>
          <a:bodyPr/>
          <a:lstStyle>
            <a:lvl1pPr marL="0" indent="0" algn="r">
              <a:buNone/>
              <a:defRPr sz="895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502338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01F6BA-BB01-423B-9A26-06133A516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317" y="428735"/>
            <a:ext cx="11541980" cy="72127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05F84B-B700-43A7-B713-CFC32FA646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9317" y="1632378"/>
            <a:ext cx="11541979" cy="1288633"/>
          </a:xfrm>
        </p:spPr>
        <p:txBody>
          <a:bodyPr/>
          <a:lstStyle>
            <a:lvl5pPr>
              <a:defRPr sz="1194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E3FE298-CB1C-4C5B-8B4C-98258C7D1B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9317" y="1044575"/>
            <a:ext cx="11541978" cy="381000"/>
          </a:xfrm>
        </p:spPr>
        <p:txBody>
          <a:bodyPr/>
          <a:lstStyle>
            <a:lvl1pPr>
              <a:defRPr sz="2388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ACFECBD-2E7F-47C5-894F-2C6D9C7B2F67}"/>
              </a:ext>
            </a:extLst>
          </p:cNvPr>
          <p:cNvSpPr txBox="1"/>
          <p:nvPr userDrawn="1"/>
        </p:nvSpPr>
        <p:spPr>
          <a:xfrm>
            <a:off x="310356" y="6657977"/>
            <a:ext cx="236219" cy="1666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1pPr>
            <a:lvl2pPr marL="238125" indent="-22383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lvl2pPr>
            <a:lvl3pPr marL="414338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3pPr>
            <a:lvl4pPr marL="566738" indent="-152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4pPr>
            <a:lvl5pPr marL="714375" indent="-1381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fld id="{1937EBA7-6943-4C94-B5FE-2B37DB52AF80}" type="slidenum">
              <a:rPr lang="en-GB" sz="895" smtClean="0">
                <a:solidFill>
                  <a:srgbClr val="808080"/>
                </a:solidFill>
              </a:rPr>
              <a:t>‹#›</a:t>
            </a:fld>
            <a:endParaRPr lang="en-GB" sz="895" dirty="0">
              <a:solidFill>
                <a:srgbClr val="808080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CF12EDC-1B50-453C-BFBD-D5B601DD8F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4963" y="6451980"/>
            <a:ext cx="10448860" cy="137796"/>
          </a:xfrm>
        </p:spPr>
        <p:txBody>
          <a:bodyPr anchor="b"/>
          <a:lstStyle>
            <a:lvl1pPr>
              <a:spcAft>
                <a:spcPts val="298"/>
              </a:spcAft>
              <a:defRPr sz="895"/>
            </a:lvl1pPr>
            <a:lvl2pPr>
              <a:defRPr sz="1095"/>
            </a:lvl2pPr>
            <a:lvl3pPr>
              <a:defRPr sz="1045"/>
            </a:lvl3pPr>
            <a:lvl4pPr>
              <a:defRPr sz="995"/>
            </a:lvl4pPr>
            <a:lvl5pPr>
              <a:defRPr sz="995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BB3551-7ADA-4445-B6EE-89F8354990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72798" y="6657977"/>
            <a:ext cx="1949196" cy="137796"/>
          </a:xfrm>
        </p:spPr>
        <p:txBody>
          <a:bodyPr/>
          <a:lstStyle>
            <a:lvl1pPr marL="0" indent="0" algn="r">
              <a:buNone/>
              <a:defRPr sz="895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FA45B27A-F507-4709-89E2-27858978441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65343" y="6657977"/>
            <a:ext cx="2160000" cy="137796"/>
          </a:xfrm>
        </p:spPr>
        <p:txBody>
          <a:bodyPr/>
          <a:lstStyle>
            <a:lvl1pPr marL="0" indent="0">
              <a:buNone/>
              <a:defRPr sz="895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Division/department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32A07DCD-F34A-450C-96BA-12DE62C66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453" y="6657977"/>
            <a:ext cx="1278972" cy="137796"/>
          </a:xfrm>
        </p:spPr>
        <p:txBody>
          <a:bodyPr/>
          <a:lstStyle>
            <a:lvl1pPr marL="0" indent="0">
              <a:buNone/>
              <a:defRPr sz="895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Internal/ex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308919116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44F59BE-E531-4AE0-98DC-0F936ECEBA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44F59BE-E531-4AE0-98DC-0F936ECEBA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2D9026D-396F-4498-8A54-C58BB0A9EB4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C305B47-94DF-4DA6-944E-13DF371CBBD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986296" y="0"/>
            <a:ext cx="3205704" cy="6858000"/>
          </a:xfrm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36FE45E-B9DF-4F50-A4A8-10D8138D46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16766" y="152400"/>
            <a:ext cx="807594" cy="8305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01F6BA-BB01-423B-9A26-06133A5161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9317" y="428734"/>
            <a:ext cx="8114969" cy="453862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Slide title – Arial, Bold, Blue, 32p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05F84B-B700-43A7-B713-CFC32FA646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317" y="1632378"/>
            <a:ext cx="8114968" cy="4351338"/>
          </a:xfrm>
        </p:spPr>
        <p:txBody>
          <a:bodyPr/>
          <a:lstStyle>
            <a:lvl5pPr>
              <a:defRPr sz="1200"/>
            </a:lvl5pPr>
          </a:lstStyle>
          <a:p>
            <a:r>
              <a:rPr lang="en-GB" dirty="0"/>
              <a:t>First level text – Arial, Regular, Black, 20pt</a:t>
            </a:r>
          </a:p>
          <a:p>
            <a:pPr lvl="1"/>
            <a:r>
              <a:rPr lang="en-GB" dirty="0"/>
              <a:t>Second level text – Arial, Regular, Black, 18pt</a:t>
            </a:r>
          </a:p>
          <a:p>
            <a:pPr lvl="2"/>
            <a:r>
              <a:rPr lang="en-GB" dirty="0"/>
              <a:t>Third level text – Arial, Regular, Black, 16pt</a:t>
            </a:r>
          </a:p>
          <a:p>
            <a:pPr lvl="3"/>
            <a:r>
              <a:rPr lang="en-GB" dirty="0"/>
              <a:t>Fourth level text – Arial, Regular, Black, 14p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E3FE298-CB1C-4C5B-8B4C-98258C7D1B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9317" y="1044575"/>
            <a:ext cx="8114967" cy="381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240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title – Arial, Regular, Blue, 24pt</a:t>
            </a:r>
          </a:p>
          <a:p>
            <a:pPr lvl="0"/>
            <a:endParaRPr lang="en-GB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E5FDA8B-BFC3-4FB6-BC79-7C3032F9FBCC}"/>
              </a:ext>
            </a:extLst>
          </p:cNvPr>
          <p:cNvSpPr txBox="1"/>
          <p:nvPr userDrawn="1"/>
        </p:nvSpPr>
        <p:spPr>
          <a:xfrm>
            <a:off x="310355" y="6657976"/>
            <a:ext cx="236219" cy="1666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1pPr>
            <a:lvl2pPr marL="238125" indent="-22383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lvl2pPr>
            <a:lvl3pPr marL="414338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3pPr>
            <a:lvl4pPr marL="566738" indent="-152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4pPr>
            <a:lvl5pPr marL="714375" indent="-1381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fld id="{1937EBA7-6943-4C94-B5FE-2B37DB52AF80}" type="slidenum">
              <a:rPr lang="en-GB" smtClean="0">
                <a:solidFill>
                  <a:srgbClr val="808080"/>
                </a:solidFill>
              </a:rPr>
              <a:t>‹#›</a:t>
            </a:fld>
            <a:endParaRPr lang="en-GB" dirty="0">
              <a:solidFill>
                <a:srgbClr val="808080"/>
              </a:solidFill>
            </a:endParaRP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810C02DF-3A61-4280-B348-0C9D11BD9C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6144768"/>
            <a:ext cx="8109316" cy="445008"/>
          </a:xfrm>
        </p:spPr>
        <p:txBody>
          <a:bodyPr anchor="b"/>
          <a:lstStyle>
            <a:lvl1pPr>
              <a:spcAft>
                <a:spcPts val="300"/>
              </a:spcAft>
              <a:defRPr sz="9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r>
              <a:rPr lang="en-GB" dirty="0"/>
              <a:t>References and footnotes – Arial, Regular, Black, 9pt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FF53245B-0227-45B0-9D51-B2930F9471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21266" y="152401"/>
            <a:ext cx="807594" cy="83058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CA8F8010-33BF-4FD6-B8BC-9A69A2B791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21266" y="5913120"/>
            <a:ext cx="807594" cy="792479"/>
          </a:xfrm>
          <a:prstGeom prst="rect">
            <a:avLst/>
          </a:prstGeom>
        </p:spPr>
      </p:pic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95E772CC-A015-45D0-A63C-1234DC0FDD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72798" y="6657976"/>
            <a:ext cx="1898727" cy="166687"/>
          </a:xfrm>
        </p:spPr>
        <p:txBody>
          <a:bodyPr/>
          <a:lstStyle>
            <a:lvl1pPr marL="0" indent="0" algn="r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AD5F73C9-F638-413B-9505-1205424B61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65343" y="6657976"/>
            <a:ext cx="2160000" cy="166687"/>
          </a:xfrm>
        </p:spPr>
        <p:txBody>
          <a:bodyPr/>
          <a:lstStyle>
            <a:lvl1pPr marL="0" indent="0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Division/department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40C21E54-1921-448A-96A4-8AC09FBB91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453" y="6657977"/>
            <a:ext cx="1278972" cy="166686"/>
          </a:xfrm>
        </p:spPr>
        <p:txBody>
          <a:bodyPr/>
          <a:lstStyle>
            <a:lvl1pPr marL="0" indent="0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Internal/ex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19740980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edi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C44BD7B-526F-419C-A95F-8F5FDAE007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C44BD7B-526F-419C-A95F-8F5FDAE007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19D290F-5F2F-483E-B328-6FCA6AA553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6C2555-777C-4319-86AA-BD05EFD63497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597408" y="1165035"/>
            <a:ext cx="4260839" cy="238760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title – Arial, Bold, White, 44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4746229-EB1C-42A1-A3FB-AD583A7FC3C8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597408" y="4112310"/>
            <a:ext cx="4260835" cy="1655762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title / Author / Affiliation / Date – Arial, Regular, White, 20pt</a:t>
            </a:r>
          </a:p>
          <a:p>
            <a:r>
              <a:rPr lang="en-GB" dirty="0"/>
              <a:t> / Affiliation / Date 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68A9ADE-2AD5-4C77-B01C-A136BB578C56}"/>
              </a:ext>
            </a:extLst>
          </p:cNvPr>
          <p:cNvCxnSpPr/>
          <p:nvPr userDrawn="1"/>
        </p:nvCxnSpPr>
        <p:spPr>
          <a:xfrm>
            <a:off x="602170" y="3848894"/>
            <a:ext cx="304292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3E2AA2C6-756C-4F7D-8481-0B6DCC1404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65343" y="6657976"/>
            <a:ext cx="2160000" cy="166687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Division/department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68EB8171-BC6E-47DE-985D-6323FCF7CE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453" y="6657977"/>
            <a:ext cx="1278972" cy="166686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ternal/external use only 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A3CF32D-8B99-4D27-A9F4-9B27549D90CB}"/>
              </a:ext>
            </a:extLst>
          </p:cNvPr>
          <p:cNvCxnSpPr/>
          <p:nvPr userDrawn="1"/>
        </p:nvCxnSpPr>
        <p:spPr>
          <a:xfrm>
            <a:off x="602170" y="3848894"/>
            <a:ext cx="304292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26">
            <a:extLst>
              <a:ext uri="{FF2B5EF4-FFF2-40B4-BE49-F238E27FC236}">
                <a16:creationId xmlns:a16="http://schemas.microsoft.com/office/drawing/2014/main" id="{4D446E16-79C6-4F6D-B314-D8478E13787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072" y="5799264"/>
            <a:ext cx="4196188" cy="507600"/>
          </a:xfrm>
          <a:prstGeom prst="rect">
            <a:avLst/>
          </a:prstGeom>
        </p:spPr>
      </p:pic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5757F32D-6638-4E90-BAAF-41CBC9EE04C0}"/>
              </a:ext>
            </a:extLst>
          </p:cNvPr>
          <p:cNvCxnSpPr>
            <a:cxnSpLocks/>
          </p:cNvCxnSpPr>
          <p:nvPr userDrawn="1"/>
        </p:nvCxnSpPr>
        <p:spPr>
          <a:xfrm rot="16200000" flipH="1">
            <a:off x="268569" y="5177535"/>
            <a:ext cx="1425778" cy="1404000"/>
          </a:xfrm>
          <a:prstGeom prst="bentConnector3">
            <a:avLst>
              <a:gd name="adj1" fmla="val 99066"/>
            </a:avLst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4BB1CE25-C345-43B6-8C3E-310B254A14A9}"/>
              </a:ext>
            </a:extLst>
          </p:cNvPr>
          <p:cNvCxnSpPr>
            <a:cxnSpLocks/>
          </p:cNvCxnSpPr>
          <p:nvPr userDrawn="1"/>
        </p:nvCxnSpPr>
        <p:spPr>
          <a:xfrm flipH="1">
            <a:off x="257039" y="277143"/>
            <a:ext cx="1425778" cy="1404000"/>
          </a:xfrm>
          <a:prstGeom prst="bentConnector3">
            <a:avLst>
              <a:gd name="adj1" fmla="val 99066"/>
            </a:avLst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440C99A4-5BB7-4A69-8CBD-35C1F2ED9BC2}"/>
              </a:ext>
            </a:extLst>
          </p:cNvPr>
          <p:cNvCxnSpPr>
            <a:cxnSpLocks/>
          </p:cNvCxnSpPr>
          <p:nvPr userDrawn="1"/>
        </p:nvCxnSpPr>
        <p:spPr>
          <a:xfrm rot="5400000" flipH="1">
            <a:off x="10498480" y="274180"/>
            <a:ext cx="1425778" cy="1404000"/>
          </a:xfrm>
          <a:prstGeom prst="bentConnector3">
            <a:avLst>
              <a:gd name="adj1" fmla="val 99066"/>
            </a:avLst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241046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Background Section Header_edi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038C229-4361-4F79-A002-311B3A3BC3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038C229-4361-4F79-A002-311B3A3BC3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B8CEF4F-C660-4313-9821-C32305CEFCC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CF8C287B-E887-415B-9C0B-706C176652B1}"/>
              </a:ext>
            </a:extLst>
          </p:cNvPr>
          <p:cNvCxnSpPr>
            <a:cxnSpLocks/>
          </p:cNvCxnSpPr>
          <p:nvPr userDrawn="1"/>
        </p:nvCxnSpPr>
        <p:spPr>
          <a:xfrm rot="16200000" flipH="1">
            <a:off x="5403307" y="5175653"/>
            <a:ext cx="1425778" cy="1404000"/>
          </a:xfrm>
          <a:prstGeom prst="bentConnector3">
            <a:avLst>
              <a:gd name="adj1" fmla="val 99066"/>
            </a:avLst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5510E752-260E-44E6-B79C-3BFDFD2D39D8}"/>
              </a:ext>
            </a:extLst>
          </p:cNvPr>
          <p:cNvCxnSpPr>
            <a:cxnSpLocks/>
          </p:cNvCxnSpPr>
          <p:nvPr userDrawn="1"/>
        </p:nvCxnSpPr>
        <p:spPr>
          <a:xfrm flipH="1">
            <a:off x="5391777" y="275261"/>
            <a:ext cx="1425778" cy="1404000"/>
          </a:xfrm>
          <a:prstGeom prst="bentConnector3">
            <a:avLst>
              <a:gd name="adj1" fmla="val 99066"/>
            </a:avLst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D4548495-A62E-4277-9349-94B973AE3083}"/>
              </a:ext>
            </a:extLst>
          </p:cNvPr>
          <p:cNvSpPr/>
          <p:nvPr userDrawn="1"/>
        </p:nvSpPr>
        <p:spPr>
          <a:xfrm>
            <a:off x="266281" y="269195"/>
            <a:ext cx="4891236" cy="632040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6C2555-777C-4319-86AA-BD05EFD63497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597408" y="1017547"/>
            <a:ext cx="4260839" cy="238760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3200" b="1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Section heading – Arial, Bold, Blue, 32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4746229-EB1C-42A1-A3FB-AD583A7FC3C8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597408" y="3429001"/>
            <a:ext cx="4260837" cy="165576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heading – Arial, Regular,</a:t>
            </a:r>
            <a:br>
              <a:rPr lang="en-GB" dirty="0"/>
            </a:br>
            <a:r>
              <a:rPr lang="en-GB" dirty="0"/>
              <a:t>Black, 20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70D0D238-D2D5-4474-97E5-0BA728AF1BF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65343" y="6657976"/>
            <a:ext cx="2160000" cy="166687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Division/department</a:t>
            </a: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7CE485C9-5AF7-46FC-9956-A71674E025A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453" y="6657977"/>
            <a:ext cx="1278972" cy="166686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ternal/external use only </a:t>
            </a:r>
          </a:p>
        </p:txBody>
      </p: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365FCD49-A3D8-4B72-8143-493725FF8C17}"/>
              </a:ext>
            </a:extLst>
          </p:cNvPr>
          <p:cNvCxnSpPr>
            <a:cxnSpLocks/>
          </p:cNvCxnSpPr>
          <p:nvPr userDrawn="1"/>
        </p:nvCxnSpPr>
        <p:spPr>
          <a:xfrm rot="5400000" flipH="1">
            <a:off x="10498480" y="274180"/>
            <a:ext cx="1425778" cy="1404000"/>
          </a:xfrm>
          <a:prstGeom prst="bentConnector3">
            <a:avLst>
              <a:gd name="adj1" fmla="val 99066"/>
            </a:avLst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70989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Background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1AC29A-19B4-41BD-8F4A-AD70AEB75D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1AC29A-19B4-41BD-8F4A-AD70AEB75D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505A502-3302-467C-9D16-D4CB61D1D37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66A5584-8FD3-48CC-A44E-C15A4EE1DFC0}"/>
              </a:ext>
            </a:extLst>
          </p:cNvPr>
          <p:cNvSpPr/>
          <p:nvPr userDrawn="1"/>
        </p:nvSpPr>
        <p:spPr>
          <a:xfrm>
            <a:off x="272404" y="269194"/>
            <a:ext cx="4876800" cy="6312089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6C2555-777C-4319-86AA-BD05EFD63497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597408" y="1017547"/>
            <a:ext cx="4260839" cy="238760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ection heading – Arial, Bold, White, 32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4746229-EB1C-42A1-A3FB-AD583A7FC3C8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597408" y="3429001"/>
            <a:ext cx="4260837" cy="165576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heading – Arial, Regular,</a:t>
            </a:r>
            <a:br>
              <a:rPr lang="en-GB" dirty="0"/>
            </a:br>
            <a:r>
              <a:rPr lang="en-GB" dirty="0"/>
              <a:t>White, 20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F0B39FFA-EEE6-48D5-9981-2A8C97D45B9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65343" y="6657976"/>
            <a:ext cx="2160000" cy="166687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Division/department</a:t>
            </a: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74F5414C-E585-48F1-9812-5E2566CE92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453" y="6657977"/>
            <a:ext cx="1278972" cy="166686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ternal/external use only </a:t>
            </a:r>
          </a:p>
        </p:txBody>
      </p: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51FD6401-94B5-4E3B-BB5B-5D974C30D65D}"/>
              </a:ext>
            </a:extLst>
          </p:cNvPr>
          <p:cNvCxnSpPr>
            <a:cxnSpLocks/>
          </p:cNvCxnSpPr>
          <p:nvPr userDrawn="1"/>
        </p:nvCxnSpPr>
        <p:spPr>
          <a:xfrm rot="16200000" flipH="1">
            <a:off x="5403307" y="5166128"/>
            <a:ext cx="1425778" cy="1404000"/>
          </a:xfrm>
          <a:prstGeom prst="bentConnector3">
            <a:avLst>
              <a:gd name="adj1" fmla="val 99066"/>
            </a:avLst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1BFD9665-39B8-481B-9C0B-063CF0347102}"/>
              </a:ext>
            </a:extLst>
          </p:cNvPr>
          <p:cNvCxnSpPr>
            <a:cxnSpLocks/>
          </p:cNvCxnSpPr>
          <p:nvPr userDrawn="1"/>
        </p:nvCxnSpPr>
        <p:spPr>
          <a:xfrm flipH="1">
            <a:off x="5391777" y="275261"/>
            <a:ext cx="1425778" cy="1404000"/>
          </a:xfrm>
          <a:prstGeom prst="bentConnector3">
            <a:avLst>
              <a:gd name="adj1" fmla="val 99066"/>
            </a:avLst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8632089F-4412-4847-ADAD-F5B91DC6FD9D}"/>
              </a:ext>
            </a:extLst>
          </p:cNvPr>
          <p:cNvCxnSpPr>
            <a:cxnSpLocks/>
          </p:cNvCxnSpPr>
          <p:nvPr userDrawn="1"/>
        </p:nvCxnSpPr>
        <p:spPr>
          <a:xfrm rot="5400000" flipH="1">
            <a:off x="10498480" y="274180"/>
            <a:ext cx="1425778" cy="1404000"/>
          </a:xfrm>
          <a:prstGeom prst="bentConnector3">
            <a:avLst>
              <a:gd name="adj1" fmla="val 99066"/>
            </a:avLst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40350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12739-F681-45B7-B1BD-64846125F626}" type="datetimeFigureOut">
              <a:rPr lang="en-GB" smtClean="0"/>
              <a:t>19/05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C95CCA-56E0-4280-9F24-84D40032D07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3409773"/>
      </p:ext>
    </p:extLst>
  </p:cSld>
  <p:clrMapOvr>
    <a:masterClrMapping/>
  </p:clrMapOvr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Background Section Header_edi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4618210-3B14-47B1-BFB2-CA36914E6B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4618210-3B14-47B1-BFB2-CA36914E6B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2DC407B-65F6-4E29-8F42-B7FF8E464E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66A5584-8FD3-48CC-A44E-C15A4EE1DFC0}"/>
              </a:ext>
            </a:extLst>
          </p:cNvPr>
          <p:cNvSpPr/>
          <p:nvPr userDrawn="1"/>
        </p:nvSpPr>
        <p:spPr>
          <a:xfrm>
            <a:off x="272404" y="269194"/>
            <a:ext cx="4876800" cy="6312089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6C2555-777C-4319-86AA-BD05EFD63497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597408" y="1017547"/>
            <a:ext cx="4260839" cy="238760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ection heading – Arial, Bold, White, 32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4746229-EB1C-42A1-A3FB-AD583A7FC3C8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597408" y="3429001"/>
            <a:ext cx="4260837" cy="165576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heading – Arial, Regular,</a:t>
            </a:r>
            <a:br>
              <a:rPr lang="en-GB" dirty="0"/>
            </a:br>
            <a:r>
              <a:rPr lang="en-GB" dirty="0"/>
              <a:t>White, 20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F0B39FFA-EEE6-48D5-9981-2A8C97D45B9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65343" y="6657976"/>
            <a:ext cx="2160000" cy="166687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Division/department</a:t>
            </a: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74F5414C-E585-48F1-9812-5E2566CE92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453" y="6657977"/>
            <a:ext cx="1278972" cy="166686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ternal/external use only </a:t>
            </a:r>
          </a:p>
        </p:txBody>
      </p: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51FD6401-94B5-4E3B-BB5B-5D974C30D65D}"/>
              </a:ext>
            </a:extLst>
          </p:cNvPr>
          <p:cNvCxnSpPr>
            <a:cxnSpLocks/>
          </p:cNvCxnSpPr>
          <p:nvPr userDrawn="1"/>
        </p:nvCxnSpPr>
        <p:spPr>
          <a:xfrm rot="16200000" flipH="1">
            <a:off x="5403307" y="5166128"/>
            <a:ext cx="1425778" cy="1404000"/>
          </a:xfrm>
          <a:prstGeom prst="bentConnector3">
            <a:avLst>
              <a:gd name="adj1" fmla="val 99066"/>
            </a:avLst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1BFD9665-39B8-481B-9C0B-063CF0347102}"/>
              </a:ext>
            </a:extLst>
          </p:cNvPr>
          <p:cNvCxnSpPr>
            <a:cxnSpLocks/>
          </p:cNvCxnSpPr>
          <p:nvPr userDrawn="1"/>
        </p:nvCxnSpPr>
        <p:spPr>
          <a:xfrm flipH="1">
            <a:off x="5391777" y="275261"/>
            <a:ext cx="1425778" cy="1404000"/>
          </a:xfrm>
          <a:prstGeom prst="bentConnector3">
            <a:avLst>
              <a:gd name="adj1" fmla="val 99066"/>
            </a:avLst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8632089F-4412-4847-ADAD-F5B91DC6FD9D}"/>
              </a:ext>
            </a:extLst>
          </p:cNvPr>
          <p:cNvCxnSpPr>
            <a:cxnSpLocks/>
          </p:cNvCxnSpPr>
          <p:nvPr userDrawn="1"/>
        </p:nvCxnSpPr>
        <p:spPr>
          <a:xfrm rot="5400000" flipH="1">
            <a:off x="10498480" y="274180"/>
            <a:ext cx="1425778" cy="1404000"/>
          </a:xfrm>
          <a:prstGeom prst="bentConnector3">
            <a:avLst>
              <a:gd name="adj1" fmla="val 99066"/>
            </a:avLst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815597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83538DE-52E3-4DD5-8768-BE9FB7AF30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83538DE-52E3-4DD5-8768-BE9FB7AF30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1D9796B-24A5-4BB2-B803-69694E2D482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49D6606A-66D5-483E-BD5D-62908798E3CA}"/>
              </a:ext>
            </a:extLst>
          </p:cNvPr>
          <p:cNvCxnSpPr>
            <a:cxnSpLocks/>
          </p:cNvCxnSpPr>
          <p:nvPr userDrawn="1"/>
        </p:nvCxnSpPr>
        <p:spPr>
          <a:xfrm rot="5400000" flipH="1">
            <a:off x="9532907" y="926048"/>
            <a:ext cx="1425778" cy="1404000"/>
          </a:xfrm>
          <a:prstGeom prst="bentConnector3">
            <a:avLst>
              <a:gd name="adj1" fmla="val 99066"/>
            </a:avLst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A4FCC95D-B08F-49E0-8760-328DE15C606F}"/>
              </a:ext>
            </a:extLst>
          </p:cNvPr>
          <p:cNvCxnSpPr>
            <a:cxnSpLocks/>
          </p:cNvCxnSpPr>
          <p:nvPr userDrawn="1"/>
        </p:nvCxnSpPr>
        <p:spPr>
          <a:xfrm flipH="1">
            <a:off x="1249553" y="915159"/>
            <a:ext cx="1425778" cy="1404000"/>
          </a:xfrm>
          <a:prstGeom prst="bentConnector3">
            <a:avLst>
              <a:gd name="adj1" fmla="val 99066"/>
            </a:avLst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876C2555-777C-4319-86AA-BD05EFD634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52304" y="1201697"/>
            <a:ext cx="9094245" cy="2227297"/>
          </a:xfrm>
          <a:prstGeom prst="rect">
            <a:avLst/>
          </a:prstGeom>
        </p:spPr>
        <p:txBody>
          <a:bodyPr anchor="b">
            <a:noAutofit/>
          </a:bodyPr>
          <a:lstStyle>
            <a:lvl1pPr algn="ctr">
              <a:defRPr sz="3200" b="1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4746229-EB1C-42A1-A3FB-AD583A7FC3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52304" y="3613151"/>
            <a:ext cx="9094241" cy="1655762"/>
          </a:xfr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A83DF0C-C9C1-4A2B-8B86-1B015888935C}"/>
              </a:ext>
            </a:extLst>
          </p:cNvPr>
          <p:cNvSpPr txBox="1"/>
          <p:nvPr userDrawn="1"/>
        </p:nvSpPr>
        <p:spPr>
          <a:xfrm>
            <a:off x="310355" y="6657976"/>
            <a:ext cx="236219" cy="1666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1pPr>
            <a:lvl2pPr marL="238125" indent="-22383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lvl2pPr>
            <a:lvl3pPr marL="414338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3pPr>
            <a:lvl4pPr marL="566738" indent="-152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4pPr>
            <a:lvl5pPr marL="714375" indent="-1381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fld id="{1937EBA7-6943-4C94-B5FE-2B37DB52AF80}" type="slidenum">
              <a:rPr lang="en-GB" smtClean="0">
                <a:solidFill>
                  <a:schemeClr val="bg1"/>
                </a:solidFill>
              </a:rPr>
              <a:t>‹#›</a:t>
            </a:fld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45E21144-EF8E-4DBA-ADF3-28E357BF07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65343" y="6657976"/>
            <a:ext cx="2160000" cy="166687"/>
          </a:xfrm>
        </p:spPr>
        <p:txBody>
          <a:bodyPr/>
          <a:lstStyle>
            <a:lvl1pPr marL="0" indent="0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Division/department</a:t>
            </a:r>
          </a:p>
        </p:txBody>
      </p:sp>
      <p:sp>
        <p:nvSpPr>
          <p:cNvPr id="27" name="Text Placeholder 16">
            <a:extLst>
              <a:ext uri="{FF2B5EF4-FFF2-40B4-BE49-F238E27FC236}">
                <a16:creationId xmlns:a16="http://schemas.microsoft.com/office/drawing/2014/main" id="{70437935-E36B-4146-99AB-262112152B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453" y="6657977"/>
            <a:ext cx="1278972" cy="166686"/>
          </a:xfrm>
        </p:spPr>
        <p:txBody>
          <a:bodyPr/>
          <a:lstStyle>
            <a:lvl1pPr marL="0" indent="0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Internal/external use only </a:t>
            </a:r>
          </a:p>
        </p:txBody>
      </p: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1482B2A9-B31E-4EAC-94F8-98E86F9E42CF}"/>
              </a:ext>
            </a:extLst>
          </p:cNvPr>
          <p:cNvCxnSpPr>
            <a:cxnSpLocks/>
          </p:cNvCxnSpPr>
          <p:nvPr userDrawn="1"/>
        </p:nvCxnSpPr>
        <p:spPr>
          <a:xfrm rot="16200000" flipH="1">
            <a:off x="1249554" y="4160578"/>
            <a:ext cx="1425778" cy="1404000"/>
          </a:xfrm>
          <a:prstGeom prst="bentConnector3">
            <a:avLst>
              <a:gd name="adj1" fmla="val 99066"/>
            </a:avLst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37626364-2C4A-423A-9D36-164AB84204A3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9532907" y="4160578"/>
            <a:ext cx="1425778" cy="1404000"/>
          </a:xfrm>
          <a:prstGeom prst="bentConnector3">
            <a:avLst>
              <a:gd name="adj1" fmla="val 99066"/>
            </a:avLst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872838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B74F841-183E-40BF-B4AF-4AC926C31A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B74F841-183E-40BF-B4AF-4AC926C31A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4D7958A-1133-49A9-ADE2-9A388515EBD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01F6BA-BB01-423B-9A26-06133A5161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9317" y="428734"/>
            <a:ext cx="11541978" cy="453862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Slide title – Arial, Bold, Blue, 32p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05F84B-B700-43A7-B713-CFC32FA646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316" y="1632378"/>
            <a:ext cx="11541979" cy="4351338"/>
          </a:xfrm>
        </p:spPr>
        <p:txBody>
          <a:bodyPr/>
          <a:lstStyle>
            <a:lvl5pPr>
              <a:defRPr sz="1200"/>
            </a:lvl5pPr>
          </a:lstStyle>
          <a:p>
            <a:r>
              <a:rPr lang="en-GB" dirty="0"/>
              <a:t>First level text – Arial, Regular, Black, 20pt</a:t>
            </a:r>
          </a:p>
          <a:p>
            <a:pPr lvl="1"/>
            <a:r>
              <a:rPr lang="en-GB" dirty="0"/>
              <a:t>Second level text – Arial, Regular, Black, 18pt</a:t>
            </a:r>
          </a:p>
          <a:p>
            <a:pPr lvl="2"/>
            <a:r>
              <a:rPr lang="en-GB" dirty="0"/>
              <a:t>Third level text – Arial, Regular, Black, 16pt</a:t>
            </a:r>
          </a:p>
          <a:p>
            <a:pPr lvl="3"/>
            <a:r>
              <a:rPr lang="en-GB" dirty="0"/>
              <a:t>Fourth level text – Arial, Regular, Black, 14p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E3FE298-CB1C-4C5B-8B4C-98258C7D1B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9317" y="1044574"/>
            <a:ext cx="11541978" cy="381600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r>
              <a:rPr lang="en-GB" dirty="0"/>
              <a:t>Subtitle – Arial, Regular, Blue, 24p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ACFECBD-2E7F-47C5-894F-2C6D9C7B2F67}"/>
              </a:ext>
            </a:extLst>
          </p:cNvPr>
          <p:cNvSpPr txBox="1"/>
          <p:nvPr userDrawn="1"/>
        </p:nvSpPr>
        <p:spPr>
          <a:xfrm>
            <a:off x="310355" y="6657976"/>
            <a:ext cx="236219" cy="1666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1pPr>
            <a:lvl2pPr marL="238125" indent="-22383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lvl2pPr>
            <a:lvl3pPr marL="414338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3pPr>
            <a:lvl4pPr marL="566738" indent="-152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4pPr>
            <a:lvl5pPr marL="714375" indent="-1381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fld id="{1937EBA7-6943-4C94-B5FE-2B37DB52AF80}" type="slidenum">
              <a:rPr lang="en-GB" smtClean="0">
                <a:solidFill>
                  <a:srgbClr val="808080"/>
                </a:solidFill>
              </a:rPr>
              <a:t>‹#›</a:t>
            </a:fld>
            <a:endParaRPr lang="en-GB" dirty="0">
              <a:solidFill>
                <a:srgbClr val="808080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CF12EDC-1B50-453C-BFBD-D5B601DD8F4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6144768"/>
            <a:ext cx="9881379" cy="445008"/>
          </a:xfrm>
        </p:spPr>
        <p:txBody>
          <a:bodyPr anchor="b"/>
          <a:lstStyle>
            <a:lvl1pPr>
              <a:spcAft>
                <a:spcPts val="300"/>
              </a:spcAft>
              <a:defRPr sz="9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r>
              <a:rPr lang="en-GB" dirty="0"/>
              <a:t>References and footnotes – Arial, Regular, Black, 9pt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9D7BBCF1-BC9C-4393-B676-63F680026A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65343" y="6657976"/>
            <a:ext cx="2160000" cy="166687"/>
          </a:xfrm>
        </p:spPr>
        <p:txBody>
          <a:bodyPr/>
          <a:lstStyle>
            <a:lvl1pPr marL="0" indent="0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Division/department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88E72ADA-2624-47BB-ADAD-F8C7853DB0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453" y="6657977"/>
            <a:ext cx="1278972" cy="166686"/>
          </a:xfrm>
        </p:spPr>
        <p:txBody>
          <a:bodyPr/>
          <a:lstStyle>
            <a:lvl1pPr marL="0" indent="0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Internal/external use only 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53229405-C160-44D5-AFA4-951D0EB382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72798" y="6657976"/>
            <a:ext cx="1898499" cy="166687"/>
          </a:xfrm>
        </p:spPr>
        <p:txBody>
          <a:bodyPr/>
          <a:lstStyle>
            <a:lvl1pPr marL="0" indent="0" algn="r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7005067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800BCF7-8635-4FA8-87D1-A427FCF0E1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800BCF7-8635-4FA8-87D1-A427FCF0E1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121F97B-62F9-41D3-809E-26C28951707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F48467-501A-43D6-85B7-7F01499F1C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9317" y="428733"/>
            <a:ext cx="11541980" cy="454787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Slide title – Arial, Bold, Blue, 32p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D4813A-FDF5-42E2-92A7-043E4E36C82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29316" y="1632378"/>
            <a:ext cx="5460558" cy="4351338"/>
          </a:xfrm>
        </p:spPr>
        <p:txBody>
          <a:bodyPr/>
          <a:lstStyle>
            <a:lvl5pPr>
              <a:defRPr sz="1200"/>
            </a:lvl5pPr>
          </a:lstStyle>
          <a:p>
            <a:r>
              <a:rPr lang="en-GB" dirty="0"/>
              <a:t>First level text – Arial, Regular, Black, 20pt</a:t>
            </a:r>
          </a:p>
          <a:p>
            <a:pPr lvl="1"/>
            <a:r>
              <a:rPr lang="en-GB" dirty="0"/>
              <a:t>Second level text – Arial, Regular, Black, 18pt</a:t>
            </a:r>
          </a:p>
          <a:p>
            <a:pPr lvl="2"/>
            <a:r>
              <a:rPr lang="en-GB" dirty="0"/>
              <a:t>Third level text – Arial, Regular, Black, 16pt</a:t>
            </a:r>
          </a:p>
          <a:p>
            <a:pPr lvl="3"/>
            <a:r>
              <a:rPr lang="en-GB" dirty="0"/>
              <a:t>Fourth level text – Arial, Regular, Black, 14p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FD71F18-708F-4D97-BC76-799A9104BED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410739" y="1632378"/>
            <a:ext cx="5460558" cy="4351338"/>
          </a:xfrm>
        </p:spPr>
        <p:txBody>
          <a:bodyPr/>
          <a:lstStyle>
            <a:lvl5pPr>
              <a:defRPr sz="1200"/>
            </a:lvl5pPr>
          </a:lstStyle>
          <a:p>
            <a:r>
              <a:rPr lang="en-GB" dirty="0"/>
              <a:t>First level text – Arial, Regular, Black, 20pt</a:t>
            </a:r>
          </a:p>
          <a:p>
            <a:pPr lvl="1"/>
            <a:r>
              <a:rPr lang="en-GB" dirty="0"/>
              <a:t>Second level text – Arial, Regular, Black, 18pt</a:t>
            </a:r>
          </a:p>
          <a:p>
            <a:pPr lvl="2"/>
            <a:r>
              <a:rPr lang="en-GB" dirty="0"/>
              <a:t>Third level text – Arial, Regular, Black, 16pt</a:t>
            </a:r>
          </a:p>
          <a:p>
            <a:pPr lvl="3"/>
            <a:r>
              <a:rPr lang="en-GB" dirty="0"/>
              <a:t>Fourth level text – Arial, Regular, Black, 14pt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4384F61-9FEF-4AD4-954F-4A574129A2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9317" y="1044574"/>
            <a:ext cx="11541980" cy="381600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r>
              <a:rPr lang="en-GB" dirty="0"/>
              <a:t>Subtitle – Arial, Regular, Blue, 24p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1F927F6-D469-42D9-8151-DABF11ABD1B7}"/>
              </a:ext>
            </a:extLst>
          </p:cNvPr>
          <p:cNvSpPr txBox="1"/>
          <p:nvPr userDrawn="1"/>
        </p:nvSpPr>
        <p:spPr>
          <a:xfrm>
            <a:off x="310355" y="6657976"/>
            <a:ext cx="236219" cy="1666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1pPr>
            <a:lvl2pPr marL="238125" indent="-22383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lvl2pPr>
            <a:lvl3pPr marL="414338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3pPr>
            <a:lvl4pPr marL="566738" indent="-152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4pPr>
            <a:lvl5pPr marL="714375" indent="-1381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fld id="{1937EBA7-6943-4C94-B5FE-2B37DB52AF80}" type="slidenum">
              <a:rPr lang="en-GB" smtClean="0">
                <a:solidFill>
                  <a:srgbClr val="808080"/>
                </a:solidFill>
              </a:rPr>
              <a:t>‹#›</a:t>
            </a:fld>
            <a:endParaRPr lang="en-GB" dirty="0">
              <a:solidFill>
                <a:srgbClr val="808080"/>
              </a:solidFill>
            </a:endParaRP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F5810635-6B37-4DC5-92B2-FBF00717BC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72798" y="6657976"/>
            <a:ext cx="1898499" cy="166687"/>
          </a:xfrm>
        </p:spPr>
        <p:txBody>
          <a:bodyPr/>
          <a:lstStyle>
            <a:lvl1pPr marL="0" indent="0" algn="r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2BA332-C2E6-44CC-A112-A9CEE3E05F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65343" y="6657976"/>
            <a:ext cx="2160000" cy="166687"/>
          </a:xfrm>
        </p:spPr>
        <p:txBody>
          <a:bodyPr/>
          <a:lstStyle>
            <a:lvl1pPr marL="0" indent="0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Division/department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EDCE53AE-FA9B-4E78-B262-CD82CDA0E5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453" y="6657977"/>
            <a:ext cx="1278972" cy="166686"/>
          </a:xfrm>
        </p:spPr>
        <p:txBody>
          <a:bodyPr/>
          <a:lstStyle>
            <a:lvl1pPr marL="0" indent="0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Internal/external use only 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6A2C2C3A-4512-480F-A614-BCCC404BB0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6144768"/>
            <a:ext cx="9881379" cy="445008"/>
          </a:xfrm>
        </p:spPr>
        <p:txBody>
          <a:bodyPr anchor="b"/>
          <a:lstStyle>
            <a:lvl1pPr>
              <a:spcAft>
                <a:spcPts val="300"/>
              </a:spcAft>
              <a:defRPr sz="9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r>
              <a:rPr lang="en-GB" dirty="0"/>
              <a:t>References and footnotes – Arial, Regular, Black, 9pt</a:t>
            </a:r>
          </a:p>
        </p:txBody>
      </p:sp>
    </p:spTree>
    <p:extLst>
      <p:ext uri="{BB962C8B-B14F-4D97-AF65-F5344CB8AC3E}">
        <p14:creationId xmlns:p14="http://schemas.microsoft.com/office/powerpoint/2010/main" val="65005424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1E70095-33E8-4301-98F1-4322A05AB7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1E70095-33E8-4301-98F1-4322A05AB7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D6B62E9-D9FB-4CE0-B711-3BE2CDD7F4D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75FC8F6F-C516-4CB1-A8D1-443E751AE6F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08725" y="1704975"/>
            <a:ext cx="5562572" cy="4010025"/>
          </a:xfrm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F48467-501A-43D6-85B7-7F01499F1C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9317" y="428734"/>
            <a:ext cx="11541980" cy="453862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Slide title – Arial, Bold, Blue, 32p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D4813A-FDF5-42E2-92A7-043E4E36C82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29316" y="1632378"/>
            <a:ext cx="5460558" cy="4351338"/>
          </a:xfrm>
        </p:spPr>
        <p:txBody>
          <a:bodyPr/>
          <a:lstStyle>
            <a:lvl5pPr>
              <a:defRPr sz="1200"/>
            </a:lvl5pPr>
          </a:lstStyle>
          <a:p>
            <a:r>
              <a:rPr lang="en-GB" dirty="0"/>
              <a:t>First level text – Arial, Regular, Black, 20pt</a:t>
            </a:r>
          </a:p>
          <a:p>
            <a:pPr lvl="1"/>
            <a:r>
              <a:rPr lang="en-GB" dirty="0"/>
              <a:t>Second level text – Arial, Regular, Black, 18pt</a:t>
            </a:r>
          </a:p>
          <a:p>
            <a:pPr lvl="2"/>
            <a:r>
              <a:rPr lang="en-GB" dirty="0"/>
              <a:t>Third level text – Arial, Regular, Black, 16pt</a:t>
            </a:r>
          </a:p>
          <a:p>
            <a:pPr lvl="3"/>
            <a:r>
              <a:rPr lang="en-GB" dirty="0"/>
              <a:t>Fourth level text – Arial, Regular, Black, 14pt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4384F61-9FEF-4AD4-954F-4A574129A2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9317" y="1044575"/>
            <a:ext cx="11541980" cy="381000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r>
              <a:rPr lang="en-GB" dirty="0"/>
              <a:t>Subtitle – Arial, Regular, Blue, 24p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B4D1605-B9B4-43B5-BD6A-249947DA6998}"/>
              </a:ext>
            </a:extLst>
          </p:cNvPr>
          <p:cNvSpPr txBox="1"/>
          <p:nvPr userDrawn="1"/>
        </p:nvSpPr>
        <p:spPr>
          <a:xfrm>
            <a:off x="310355" y="6657976"/>
            <a:ext cx="236219" cy="1666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1pPr>
            <a:lvl2pPr marL="238125" indent="-22383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lvl2pPr>
            <a:lvl3pPr marL="414338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3pPr>
            <a:lvl4pPr marL="566738" indent="-152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4pPr>
            <a:lvl5pPr marL="714375" indent="-1381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fld id="{1937EBA7-6943-4C94-B5FE-2B37DB52AF80}" type="slidenum">
              <a:rPr lang="en-GB" smtClean="0">
                <a:solidFill>
                  <a:srgbClr val="808080"/>
                </a:solidFill>
              </a:rPr>
              <a:t>‹#›</a:t>
            </a:fld>
            <a:endParaRPr lang="en-GB" dirty="0">
              <a:solidFill>
                <a:srgbClr val="808080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363D466-54EC-4C02-A9B6-0343FA199D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85560" y="1813560"/>
            <a:ext cx="777240" cy="74676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952E939E-54F9-4DCE-907A-BB5FAE25F1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56620" y="1813558"/>
            <a:ext cx="777240" cy="746761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5F490283-5B7A-4366-9CFD-4B6CE38F39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85558" y="4907280"/>
            <a:ext cx="777241" cy="74676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3CCF25D-BA59-415F-AEBB-74D53E20F8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56620" y="4907280"/>
            <a:ext cx="723900" cy="746760"/>
          </a:xfrm>
          <a:prstGeom prst="rect">
            <a:avLst/>
          </a:prstGeom>
        </p:spPr>
      </p:pic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29EE9725-8C69-49DE-ACA6-3D6DF7DDED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72798" y="6657976"/>
            <a:ext cx="1898499" cy="166687"/>
          </a:xfrm>
        </p:spPr>
        <p:txBody>
          <a:bodyPr/>
          <a:lstStyle>
            <a:lvl1pPr marL="0" indent="0" algn="r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19E2C162-8EA2-408B-9C19-81DA842B53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65343" y="6657976"/>
            <a:ext cx="2160000" cy="166687"/>
          </a:xfrm>
        </p:spPr>
        <p:txBody>
          <a:bodyPr/>
          <a:lstStyle>
            <a:lvl1pPr marL="0" indent="0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Division/department</a:t>
            </a:r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AE98CFDD-5ABC-4E2B-87F0-DAC4CC815D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453" y="6657977"/>
            <a:ext cx="1278972" cy="166686"/>
          </a:xfrm>
        </p:spPr>
        <p:txBody>
          <a:bodyPr/>
          <a:lstStyle>
            <a:lvl1pPr marL="0" indent="0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Internal/external use only 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71A1F95C-9B2B-4E73-91CC-7D8DB9D8837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6144768"/>
            <a:ext cx="9881379" cy="445008"/>
          </a:xfrm>
        </p:spPr>
        <p:txBody>
          <a:bodyPr anchor="b"/>
          <a:lstStyle>
            <a:lvl1pPr>
              <a:spcAft>
                <a:spcPts val="300"/>
              </a:spcAft>
              <a:defRPr sz="9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r>
              <a:rPr lang="en-GB" dirty="0"/>
              <a:t>References and footnotes – Arial, Regular, Black, 9pt</a:t>
            </a:r>
          </a:p>
        </p:txBody>
      </p:sp>
    </p:spTree>
    <p:extLst>
      <p:ext uri="{BB962C8B-B14F-4D97-AF65-F5344CB8AC3E}">
        <p14:creationId xmlns:p14="http://schemas.microsoft.com/office/powerpoint/2010/main" val="349863816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 Page 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6EB9E5E-982B-42FC-98BA-E120CBC9A3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6EB9E5E-982B-42FC-98BA-E120CBC9A3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BA2BC4B-88E9-4709-A5CB-7F03E30FEE2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3F118CA-16F2-4223-A9BC-7C8A202CB93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02350" y="0"/>
            <a:ext cx="6089650" cy="6858000"/>
          </a:xfrm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01F6BA-BB01-423B-9A26-06133A5161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9318" y="428734"/>
            <a:ext cx="5398382" cy="453862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Slide title – Arial, Bold, 32p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05F84B-B700-43A7-B713-CFC32FA646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317" y="1632378"/>
            <a:ext cx="5398381" cy="4351338"/>
          </a:xfrm>
        </p:spPr>
        <p:txBody>
          <a:bodyPr/>
          <a:lstStyle>
            <a:lvl5pPr>
              <a:defRPr sz="1200"/>
            </a:lvl5pPr>
          </a:lstStyle>
          <a:p>
            <a:r>
              <a:rPr lang="en-GB" dirty="0"/>
              <a:t>First level text – Arial, Regular, Black, 20pt</a:t>
            </a:r>
          </a:p>
          <a:p>
            <a:pPr lvl="1"/>
            <a:r>
              <a:rPr lang="en-GB" dirty="0"/>
              <a:t>Second level text – Arial, Regular, Black, 18pt</a:t>
            </a:r>
          </a:p>
          <a:p>
            <a:pPr lvl="2"/>
            <a:r>
              <a:rPr lang="en-GB" dirty="0"/>
              <a:t>Third level text – Arial, Regular, Black, 16pt</a:t>
            </a:r>
          </a:p>
          <a:p>
            <a:pPr lvl="3"/>
            <a:r>
              <a:rPr lang="en-GB" dirty="0"/>
              <a:t>Fourth level text – Arial, Regular, Black, 14p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E3FE298-CB1C-4C5B-8B4C-98258C7D1B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9318" y="1044575"/>
            <a:ext cx="5398380" cy="381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240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title – Arial, Regular, Blue, 24pt</a:t>
            </a:r>
          </a:p>
          <a:p>
            <a:pPr lvl="0"/>
            <a:endParaRPr lang="en-GB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5F8906E-FD89-4131-ADC1-500AA0F51C2F}"/>
              </a:ext>
            </a:extLst>
          </p:cNvPr>
          <p:cNvSpPr txBox="1"/>
          <p:nvPr userDrawn="1"/>
        </p:nvSpPr>
        <p:spPr>
          <a:xfrm>
            <a:off x="310355" y="6657976"/>
            <a:ext cx="236219" cy="1666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1pPr>
            <a:lvl2pPr marL="238125" indent="-22383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lvl2pPr>
            <a:lvl3pPr marL="414338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3pPr>
            <a:lvl4pPr marL="566738" indent="-152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4pPr>
            <a:lvl5pPr marL="714375" indent="-1381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fld id="{1937EBA7-6943-4C94-B5FE-2B37DB52AF80}" type="slidenum">
              <a:rPr lang="en-GB" smtClean="0">
                <a:solidFill>
                  <a:srgbClr val="808080"/>
                </a:solidFill>
              </a:rPr>
              <a:t>‹#›</a:t>
            </a:fld>
            <a:endParaRPr lang="en-GB" dirty="0">
              <a:solidFill>
                <a:srgbClr val="808080"/>
              </a:solidFill>
            </a:endParaRP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206D816D-37A1-4E46-9FC8-3FD06898514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6144768"/>
            <a:ext cx="5392731" cy="445008"/>
          </a:xfrm>
        </p:spPr>
        <p:txBody>
          <a:bodyPr anchor="b"/>
          <a:lstStyle>
            <a:lvl1pPr>
              <a:spcAft>
                <a:spcPts val="300"/>
              </a:spcAft>
              <a:defRPr sz="9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r>
              <a:rPr lang="en-GB" dirty="0"/>
              <a:t>References and footnotes – Arial, Regular, Black, 9p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3F23AB0-AE4A-4708-BE14-A4E3FB7231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92840" y="175261"/>
            <a:ext cx="716280" cy="707336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49340C61-3145-4943-860F-D246CC3C77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48400" y="175261"/>
            <a:ext cx="769620" cy="724534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56A28BF6-1FAF-4078-9C15-8DE7E74580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48398" y="5905501"/>
            <a:ext cx="769621" cy="752476"/>
          </a:xfrm>
          <a:prstGeom prst="rect">
            <a:avLst/>
          </a:prstGeom>
        </p:spPr>
      </p:pic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1C872C0E-58CA-407F-9318-F6E73BB7BEB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72798" y="6657976"/>
            <a:ext cx="1898727" cy="166687"/>
          </a:xfrm>
        </p:spPr>
        <p:txBody>
          <a:bodyPr/>
          <a:lstStyle>
            <a:lvl1pPr marL="0" indent="0" algn="r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362E8375-7117-4457-A0AE-1D050469E7F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65343" y="6657976"/>
            <a:ext cx="2160000" cy="166687"/>
          </a:xfrm>
        </p:spPr>
        <p:txBody>
          <a:bodyPr/>
          <a:lstStyle>
            <a:lvl1pPr marL="0" indent="0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Division/department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5F07FF74-6D66-4FF1-B052-3CD9FCBBEF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453" y="6657977"/>
            <a:ext cx="1278972" cy="166686"/>
          </a:xfrm>
        </p:spPr>
        <p:txBody>
          <a:bodyPr/>
          <a:lstStyle>
            <a:lvl1pPr marL="0" indent="0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Internal/ex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392599376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Editable Call 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2D67D07-4E0F-4DA9-ACBE-27BBBA57DB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2D67D07-4E0F-4DA9-ACBE-27BBBA57DB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30AAECB-DD3A-4E3F-B4A1-4B67DFECA21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B338BF04-36AF-4B26-B287-269763DFE8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7023" y="-1"/>
            <a:ext cx="3214977" cy="6857999"/>
          </a:xfrm>
        </p:spPr>
        <p:txBody>
          <a:bodyPr lIns="450000" tIns="1638000" rIns="342000"/>
          <a:lstStyle>
            <a:lvl1pPr>
              <a:defRPr sz="1800" b="1"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 sz="1600" b="1"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 sz="1400" b="1"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 sz="1200" b="1"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 sz="1200" b="1">
                <a:solidFill>
                  <a:schemeClr val="tx2"/>
                </a:solidFill>
              </a:defRPr>
            </a:lvl5pPr>
          </a:lstStyle>
          <a:p>
            <a:r>
              <a:rPr lang="en-GB" dirty="0"/>
              <a:t>Call out text – Arial, Bold, Blue, 18pt</a:t>
            </a:r>
          </a:p>
          <a:p>
            <a:pPr lvl="1"/>
            <a:r>
              <a:rPr lang="en-GB" dirty="0"/>
              <a:t>Second level text – Arial, Bold, White, 16pt</a:t>
            </a:r>
          </a:p>
          <a:p>
            <a:pPr lvl="2"/>
            <a:r>
              <a:rPr lang="en-GB" dirty="0"/>
              <a:t>Third level text – Arial, Bold, White, 14pt</a:t>
            </a:r>
          </a:p>
          <a:p>
            <a:pPr lvl="3"/>
            <a:r>
              <a:rPr lang="en-GB" dirty="0"/>
              <a:t>Fourth level text – Arial, Bold, White, 12p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01F6BA-BB01-423B-9A26-06133A5161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9317" y="428734"/>
            <a:ext cx="8114969" cy="453862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Slide title – Arial, Bold, Blue, 32p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05F84B-B700-43A7-B713-CFC32FA646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317" y="1632378"/>
            <a:ext cx="8114968" cy="4351338"/>
          </a:xfrm>
        </p:spPr>
        <p:txBody>
          <a:bodyPr/>
          <a:lstStyle/>
          <a:p>
            <a:r>
              <a:rPr lang="en-GB" dirty="0"/>
              <a:t>First level text – Arial, Regular, Black, 20pt</a:t>
            </a:r>
          </a:p>
          <a:p>
            <a:pPr lvl="1"/>
            <a:r>
              <a:rPr lang="en-GB" dirty="0"/>
              <a:t>Second level text – Arial, Regular, Black, 18pt</a:t>
            </a:r>
          </a:p>
          <a:p>
            <a:pPr lvl="2"/>
            <a:r>
              <a:rPr lang="en-GB" dirty="0"/>
              <a:t>Third level text – Arial, Regular, Black, 16pt</a:t>
            </a:r>
          </a:p>
          <a:p>
            <a:pPr lvl="3"/>
            <a:r>
              <a:rPr lang="en-GB" dirty="0"/>
              <a:t>Fourth level text – Arial, Regular, Black, 14p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E3FE298-CB1C-4C5B-8B4C-98258C7D1B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9317" y="1044575"/>
            <a:ext cx="8114967" cy="381000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r>
              <a:rPr lang="en-GB" dirty="0"/>
              <a:t>Subtitle – Arial, Regular, Blue, 24p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3C7B794-2A79-489B-B901-5BBB23698DB7}"/>
              </a:ext>
            </a:extLst>
          </p:cNvPr>
          <p:cNvSpPr/>
          <p:nvPr userDrawn="1"/>
        </p:nvSpPr>
        <p:spPr>
          <a:xfrm>
            <a:off x="8977023" y="0"/>
            <a:ext cx="3214977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EDB2B1C-ED1E-463A-A340-30AD51CEFBE8}"/>
              </a:ext>
            </a:extLst>
          </p:cNvPr>
          <p:cNvSpPr txBox="1"/>
          <p:nvPr userDrawn="1"/>
        </p:nvSpPr>
        <p:spPr>
          <a:xfrm>
            <a:off x="310355" y="6657976"/>
            <a:ext cx="236219" cy="1666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1pPr>
            <a:lvl2pPr marL="238125" indent="-22383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lvl2pPr>
            <a:lvl3pPr marL="414338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3pPr>
            <a:lvl4pPr marL="566738" indent="-152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4pPr>
            <a:lvl5pPr marL="714375" indent="-1381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fld id="{1937EBA7-6943-4C94-B5FE-2B37DB52AF80}" type="slidenum">
              <a:rPr lang="en-GB" smtClean="0">
                <a:solidFill>
                  <a:srgbClr val="808080"/>
                </a:solidFill>
              </a:rPr>
              <a:t>‹#›</a:t>
            </a:fld>
            <a:endParaRPr lang="en-GB" dirty="0">
              <a:solidFill>
                <a:srgbClr val="808080"/>
              </a:solidFill>
            </a:endParaRP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793AA7FE-DBC8-499C-A22E-390AE1D7B6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963" y="6144768"/>
            <a:ext cx="8109317" cy="445008"/>
          </a:xfrm>
        </p:spPr>
        <p:txBody>
          <a:bodyPr anchor="b"/>
          <a:lstStyle>
            <a:lvl1pPr>
              <a:spcAft>
                <a:spcPts val="300"/>
              </a:spcAft>
              <a:defRPr sz="9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r>
              <a:rPr lang="en-GB" dirty="0"/>
              <a:t>References and footnotes – Arial, Regular, Black, 9pt</a:t>
            </a:r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3066F2B6-ABAD-460B-9F96-1A2D7C7F69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72798" y="6657976"/>
            <a:ext cx="1893501" cy="166687"/>
          </a:xfrm>
        </p:spPr>
        <p:txBody>
          <a:bodyPr/>
          <a:lstStyle>
            <a:lvl1pPr marL="0" indent="0" algn="r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76E31DD8-7252-4BD8-8D06-0B7718EE281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65343" y="6657976"/>
            <a:ext cx="2160000" cy="166687"/>
          </a:xfrm>
        </p:spPr>
        <p:txBody>
          <a:bodyPr/>
          <a:lstStyle>
            <a:lvl1pPr marL="0" indent="0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Division/department</a:t>
            </a:r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2CA733D5-35D9-49C1-8120-933A93426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453" y="6657977"/>
            <a:ext cx="1278972" cy="166686"/>
          </a:xfrm>
        </p:spPr>
        <p:txBody>
          <a:bodyPr/>
          <a:lstStyle>
            <a:lvl1pPr marL="0" indent="0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Internal/ex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145600612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erapeutic Areas Layout 3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9952196-11A5-4E36-80DF-1DB32F9BB8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9952196-11A5-4E36-80DF-1DB32F9BB8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F14BEB5-0BAF-44F4-9A2D-7832CDCE75D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9F2801-8A53-4D26-950A-EA94FEC1BA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9317" y="428734"/>
            <a:ext cx="11541980" cy="453862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Slide title – Arial, Bold, Blue, 32p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EAE329C-D311-4C36-8C20-4FE6BBC05778}"/>
              </a:ext>
            </a:extLst>
          </p:cNvPr>
          <p:cNvSpPr/>
          <p:nvPr userDrawn="1"/>
        </p:nvSpPr>
        <p:spPr>
          <a:xfrm>
            <a:off x="334963" y="2234316"/>
            <a:ext cx="3625200" cy="344291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B893D1F-0856-4801-8C65-326FEFEC1259}"/>
              </a:ext>
            </a:extLst>
          </p:cNvPr>
          <p:cNvSpPr/>
          <p:nvPr userDrawn="1"/>
        </p:nvSpPr>
        <p:spPr>
          <a:xfrm>
            <a:off x="4283229" y="2234316"/>
            <a:ext cx="3625200" cy="344291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1F2001A-5FE4-4568-8312-5461157BE520}"/>
              </a:ext>
            </a:extLst>
          </p:cNvPr>
          <p:cNvSpPr/>
          <p:nvPr userDrawn="1"/>
        </p:nvSpPr>
        <p:spPr>
          <a:xfrm>
            <a:off x="8266763" y="2234316"/>
            <a:ext cx="3604534" cy="344291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1CC7BEE-FA74-4D3A-9668-F95BB3DFCF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3140646"/>
            <a:ext cx="3625200" cy="717550"/>
          </a:xfrm>
          <a:noFill/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add text – Use Format Menu to Add Fill Colour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21DB2C1B-4A2E-4FF9-A184-43A57500B51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83229" y="3140646"/>
            <a:ext cx="3625200" cy="717550"/>
          </a:xfrm>
          <a:noFill/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add text – Use Format Menu to Add Fill Colour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8EFE2FE2-3674-4C42-97A4-54F8783B5F1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66763" y="3140646"/>
            <a:ext cx="3604534" cy="717550"/>
          </a:xfrm>
          <a:noFill/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add text – Use Format Menu to Add Fill Colour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F39E250C-7C5F-43B4-AC25-B846DA0D27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8623" y="3935730"/>
            <a:ext cx="3415532" cy="166497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37D7669-E3D4-4B41-8F76-9DB19F5AA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88063" y="3935730"/>
            <a:ext cx="3415532" cy="166497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55F60A2E-DBD8-45B9-BCC4-2F4688C740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71597" y="3935730"/>
            <a:ext cx="3415532" cy="166497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89F2DE5C-7732-4962-9777-1C0AF5A1342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9317" y="1044575"/>
            <a:ext cx="11541980" cy="381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240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title – Arial, Regular, Blue, 24pt</a:t>
            </a:r>
          </a:p>
          <a:p>
            <a:pPr lvl="0"/>
            <a:endParaRPr lang="en-GB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5104E47-983C-42A7-B34F-0D097AEFA153}"/>
              </a:ext>
            </a:extLst>
          </p:cNvPr>
          <p:cNvSpPr txBox="1"/>
          <p:nvPr userDrawn="1"/>
        </p:nvSpPr>
        <p:spPr>
          <a:xfrm>
            <a:off x="310355" y="6657976"/>
            <a:ext cx="236219" cy="1666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1pPr>
            <a:lvl2pPr marL="238125" indent="-22383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lvl2pPr>
            <a:lvl3pPr marL="414338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3pPr>
            <a:lvl4pPr marL="566738" indent="-152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4pPr>
            <a:lvl5pPr marL="714375" indent="-1381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fld id="{1937EBA7-6943-4C94-B5FE-2B37DB52AF80}" type="slidenum">
              <a:rPr lang="en-GB" smtClean="0">
                <a:solidFill>
                  <a:srgbClr val="808080"/>
                </a:solidFill>
              </a:rPr>
              <a:t>‹#›</a:t>
            </a:fld>
            <a:endParaRPr lang="en-GB" dirty="0">
              <a:solidFill>
                <a:srgbClr val="808080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3FEF91C-671B-457A-B1C2-53AADCD093B0}"/>
              </a:ext>
            </a:extLst>
          </p:cNvPr>
          <p:cNvSpPr/>
          <p:nvPr userDrawn="1"/>
        </p:nvSpPr>
        <p:spPr>
          <a:xfrm>
            <a:off x="334963" y="5665747"/>
            <a:ext cx="3625200" cy="754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EE6AD10-1942-49E4-91E9-4DAFCD54A0FD}"/>
              </a:ext>
            </a:extLst>
          </p:cNvPr>
          <p:cNvSpPr/>
          <p:nvPr userDrawn="1"/>
        </p:nvSpPr>
        <p:spPr>
          <a:xfrm>
            <a:off x="4283229" y="5665747"/>
            <a:ext cx="3625200" cy="754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24751FA-9CC5-40FD-ABA8-866121800794}"/>
              </a:ext>
            </a:extLst>
          </p:cNvPr>
          <p:cNvSpPr/>
          <p:nvPr userDrawn="1"/>
        </p:nvSpPr>
        <p:spPr>
          <a:xfrm>
            <a:off x="8266763" y="5665747"/>
            <a:ext cx="3604534" cy="754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83C9EB2-853D-492D-9A29-23FC6C29379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739143" y="2274527"/>
            <a:ext cx="816841" cy="818284"/>
          </a:xfrm>
        </p:spPr>
        <p:txBody>
          <a:bodyPr/>
          <a:lstStyle>
            <a:lvl1pPr algn="ctr">
              <a:defRPr sz="100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DAA00924-FEE3-4CEA-AFB9-8960AA53B207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87409" y="2274527"/>
            <a:ext cx="816841" cy="818284"/>
          </a:xfrm>
        </p:spPr>
        <p:txBody>
          <a:bodyPr/>
          <a:lstStyle>
            <a:lvl1pPr algn="ctr">
              <a:defRPr sz="100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F8C4ADC5-F3E4-4D1F-A721-5D68BD0B5066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9670943" y="2274527"/>
            <a:ext cx="816841" cy="818284"/>
          </a:xfrm>
        </p:spPr>
        <p:txBody>
          <a:bodyPr/>
          <a:lstStyle>
            <a:lvl1pPr algn="ctr">
              <a:defRPr sz="100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27" name="Text Placeholder 16">
            <a:extLst>
              <a:ext uri="{FF2B5EF4-FFF2-40B4-BE49-F238E27FC236}">
                <a16:creationId xmlns:a16="http://schemas.microsoft.com/office/drawing/2014/main" id="{72D63E1C-925E-4267-B3F6-6D4B7EDA8FB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72798" y="6657976"/>
            <a:ext cx="1898499" cy="166687"/>
          </a:xfrm>
        </p:spPr>
        <p:txBody>
          <a:bodyPr/>
          <a:lstStyle>
            <a:lvl1pPr marL="0" indent="0" algn="r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FED51C1F-5CEB-4643-935B-86B79E7907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65343" y="6657976"/>
            <a:ext cx="2160000" cy="166687"/>
          </a:xfrm>
        </p:spPr>
        <p:txBody>
          <a:bodyPr/>
          <a:lstStyle>
            <a:lvl1pPr marL="0" indent="0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Division/department</a:t>
            </a:r>
          </a:p>
        </p:txBody>
      </p:sp>
      <p:sp>
        <p:nvSpPr>
          <p:cNvPr id="29" name="Text Placeholder 16">
            <a:extLst>
              <a:ext uri="{FF2B5EF4-FFF2-40B4-BE49-F238E27FC236}">
                <a16:creationId xmlns:a16="http://schemas.microsoft.com/office/drawing/2014/main" id="{CC154B79-0714-48DC-B7ED-9F4AC8854B4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453" y="6657977"/>
            <a:ext cx="1278972" cy="166686"/>
          </a:xfrm>
        </p:spPr>
        <p:txBody>
          <a:bodyPr/>
          <a:lstStyle>
            <a:lvl1pPr marL="0" indent="0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Internal/external use only 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725F3AB1-7631-4514-9EA1-FA248811EDB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4963" y="6144768"/>
            <a:ext cx="9881379" cy="445008"/>
          </a:xfrm>
        </p:spPr>
        <p:txBody>
          <a:bodyPr anchor="b"/>
          <a:lstStyle>
            <a:lvl1pPr>
              <a:spcAft>
                <a:spcPts val="300"/>
              </a:spcAft>
              <a:defRPr sz="9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r>
              <a:rPr lang="en-GB" dirty="0"/>
              <a:t>References and footnotes – Arial, Regular, Black, 9pt</a:t>
            </a:r>
          </a:p>
        </p:txBody>
      </p:sp>
    </p:spTree>
    <p:extLst>
      <p:ext uri="{BB962C8B-B14F-4D97-AF65-F5344CB8AC3E}">
        <p14:creationId xmlns:p14="http://schemas.microsoft.com/office/powerpoint/2010/main" val="343967899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erapeutic Areas Layout 4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6F392B-0446-4A10-ACEC-A59D2851BE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6F392B-0446-4A10-ACEC-A59D2851BE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02AE3A0-C38C-4EB7-8A27-B7D5DEDF03B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9F2801-8A53-4D26-950A-EA94FEC1BA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9317" y="428734"/>
            <a:ext cx="11541980" cy="453862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Slide title – Arial, Bold, Blue, 32p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EAE329C-D311-4C36-8C20-4FE6BBC05778}"/>
              </a:ext>
            </a:extLst>
          </p:cNvPr>
          <p:cNvSpPr/>
          <p:nvPr userDrawn="1"/>
        </p:nvSpPr>
        <p:spPr>
          <a:xfrm>
            <a:off x="334963" y="2234316"/>
            <a:ext cx="2723666" cy="344291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B893D1F-0856-4801-8C65-326FEFEC1259}"/>
              </a:ext>
            </a:extLst>
          </p:cNvPr>
          <p:cNvSpPr/>
          <p:nvPr userDrawn="1"/>
        </p:nvSpPr>
        <p:spPr>
          <a:xfrm>
            <a:off x="3276795" y="2234316"/>
            <a:ext cx="2723666" cy="344291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1F2001A-5FE4-4568-8312-5461157BE520}"/>
              </a:ext>
            </a:extLst>
          </p:cNvPr>
          <p:cNvSpPr/>
          <p:nvPr userDrawn="1"/>
        </p:nvSpPr>
        <p:spPr>
          <a:xfrm>
            <a:off x="6223390" y="2234316"/>
            <a:ext cx="2723666" cy="344291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1CC7BEE-FA74-4D3A-9668-F95BB3DFCF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3140646"/>
            <a:ext cx="2723666" cy="717550"/>
          </a:xfrm>
          <a:noFill/>
        </p:spPr>
        <p:txBody>
          <a:bodyPr anchor="ctr"/>
          <a:lstStyle>
            <a:lvl1pPr algn="ctr"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add text – Use Format Menu to Add Fill Colour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21DB2C1B-4A2E-4FF9-A184-43A57500B51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76795" y="3140646"/>
            <a:ext cx="2723666" cy="717550"/>
          </a:xfrm>
          <a:noFill/>
        </p:spPr>
        <p:txBody>
          <a:bodyPr anchor="ctr"/>
          <a:lstStyle>
            <a:lvl1pPr algn="ctr"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add text – Use Format Menu to Add Fill Colour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8EFE2FE2-3674-4C42-97A4-54F8783B5F1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3390" y="3140646"/>
            <a:ext cx="2723666" cy="717550"/>
          </a:xfrm>
          <a:noFill/>
        </p:spPr>
        <p:txBody>
          <a:bodyPr anchor="ctr"/>
          <a:lstStyle>
            <a:lvl1pPr algn="ctr"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add text – Use Format Menu to Add Fill Colour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F39E250C-7C5F-43B4-AC25-B846DA0D27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2552" y="3935730"/>
            <a:ext cx="2566140" cy="166497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37D7669-E3D4-4B41-8F76-9DB19F5AA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55558" y="3935730"/>
            <a:ext cx="2566140" cy="166497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55F60A2E-DBD8-45B9-BCC4-2F4688C740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02153" y="3935730"/>
            <a:ext cx="2566140" cy="166497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89F2DE5C-7732-4962-9777-1C0AF5A1342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9317" y="1044575"/>
            <a:ext cx="11541980" cy="381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 sz="240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ubtitle – Arial, Regular, Blue, 24pt</a:t>
            </a:r>
          </a:p>
          <a:p>
            <a:pPr lvl="0"/>
            <a:endParaRPr lang="en-GB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5104E47-983C-42A7-B34F-0D097AEFA153}"/>
              </a:ext>
            </a:extLst>
          </p:cNvPr>
          <p:cNvSpPr txBox="1"/>
          <p:nvPr userDrawn="1"/>
        </p:nvSpPr>
        <p:spPr>
          <a:xfrm>
            <a:off x="310355" y="6657976"/>
            <a:ext cx="236219" cy="1666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1pPr>
            <a:lvl2pPr marL="238125" indent="-22383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lvl2pPr>
            <a:lvl3pPr marL="414338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3pPr>
            <a:lvl4pPr marL="566738" indent="-152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4pPr>
            <a:lvl5pPr marL="714375" indent="-1381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fld id="{1937EBA7-6943-4C94-B5FE-2B37DB52AF80}" type="slidenum">
              <a:rPr lang="en-GB" smtClean="0">
                <a:solidFill>
                  <a:srgbClr val="808080"/>
                </a:solidFill>
              </a:rPr>
              <a:t>‹#›</a:t>
            </a:fld>
            <a:endParaRPr lang="en-GB" dirty="0">
              <a:solidFill>
                <a:srgbClr val="808080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3FEF91C-671B-457A-B1C2-53AADCD093B0}"/>
              </a:ext>
            </a:extLst>
          </p:cNvPr>
          <p:cNvSpPr/>
          <p:nvPr userDrawn="1"/>
        </p:nvSpPr>
        <p:spPr>
          <a:xfrm>
            <a:off x="334963" y="5665747"/>
            <a:ext cx="2723666" cy="754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EE6AD10-1942-49E4-91E9-4DAFCD54A0FD}"/>
              </a:ext>
            </a:extLst>
          </p:cNvPr>
          <p:cNvSpPr/>
          <p:nvPr userDrawn="1"/>
        </p:nvSpPr>
        <p:spPr>
          <a:xfrm>
            <a:off x="3276795" y="5665747"/>
            <a:ext cx="2723666" cy="754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24751FA-9CC5-40FD-ABA8-866121800794}"/>
              </a:ext>
            </a:extLst>
          </p:cNvPr>
          <p:cNvSpPr/>
          <p:nvPr userDrawn="1"/>
        </p:nvSpPr>
        <p:spPr>
          <a:xfrm>
            <a:off x="6223390" y="5665747"/>
            <a:ext cx="2723666" cy="754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9F6A0EF-F244-4F10-8E53-FF1734A6C5D6}"/>
              </a:ext>
            </a:extLst>
          </p:cNvPr>
          <p:cNvSpPr/>
          <p:nvPr userDrawn="1"/>
        </p:nvSpPr>
        <p:spPr>
          <a:xfrm>
            <a:off x="9176061" y="2234316"/>
            <a:ext cx="2695236" cy="344291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dirty="0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067EE507-0A9B-4270-BF75-E1A3C71AD1A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176061" y="3140646"/>
            <a:ext cx="2723666" cy="717550"/>
          </a:xfrm>
          <a:noFill/>
        </p:spPr>
        <p:txBody>
          <a:bodyPr anchor="ctr"/>
          <a:lstStyle>
            <a:lvl1pPr algn="ctr"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add text – Use Format Menu to Add Fill Colour</a:t>
            </a:r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51F5C57A-BFDD-4A2B-8F3E-CAA562586A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54824" y="3935730"/>
            <a:ext cx="2566140" cy="166497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6924655-6905-4B27-A62C-FF79407078AF}"/>
              </a:ext>
            </a:extLst>
          </p:cNvPr>
          <p:cNvSpPr/>
          <p:nvPr userDrawn="1"/>
        </p:nvSpPr>
        <p:spPr>
          <a:xfrm>
            <a:off x="9176061" y="5665747"/>
            <a:ext cx="2695236" cy="754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dirty="0"/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CD607A15-1A8C-4AFF-A9AE-8FB4145E9E00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288376" y="2274527"/>
            <a:ext cx="816841" cy="818284"/>
          </a:xfrm>
        </p:spPr>
        <p:txBody>
          <a:bodyPr/>
          <a:lstStyle>
            <a:lvl1pPr algn="ctr">
              <a:defRPr sz="100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38" name="Picture Placeholder 3">
            <a:extLst>
              <a:ext uri="{FF2B5EF4-FFF2-40B4-BE49-F238E27FC236}">
                <a16:creationId xmlns:a16="http://schemas.microsoft.com/office/drawing/2014/main" id="{194F3774-8883-49F1-84E4-989399A81EC4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230208" y="2274527"/>
            <a:ext cx="816841" cy="818284"/>
          </a:xfrm>
        </p:spPr>
        <p:txBody>
          <a:bodyPr/>
          <a:lstStyle>
            <a:lvl1pPr algn="ctr">
              <a:defRPr sz="100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39" name="Picture Placeholder 3">
            <a:extLst>
              <a:ext uri="{FF2B5EF4-FFF2-40B4-BE49-F238E27FC236}">
                <a16:creationId xmlns:a16="http://schemas.microsoft.com/office/drawing/2014/main" id="{AF68418C-F93A-477F-8F66-8680E4D30CA3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10129474" y="2274527"/>
            <a:ext cx="816841" cy="818284"/>
          </a:xfrm>
        </p:spPr>
        <p:txBody>
          <a:bodyPr/>
          <a:lstStyle>
            <a:lvl1pPr algn="ctr">
              <a:defRPr sz="100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D74AF6CC-328A-46F8-8DE0-FD33223AB726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7176803" y="2274527"/>
            <a:ext cx="816841" cy="818284"/>
          </a:xfrm>
        </p:spPr>
        <p:txBody>
          <a:bodyPr/>
          <a:lstStyle>
            <a:lvl1pPr algn="ctr">
              <a:defRPr sz="100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8CB38E4B-C290-4D4F-9478-B892DF6401B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72798" y="6657976"/>
            <a:ext cx="1898499" cy="166687"/>
          </a:xfrm>
        </p:spPr>
        <p:txBody>
          <a:bodyPr/>
          <a:lstStyle>
            <a:lvl1pPr marL="0" indent="0" algn="r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34" name="Text Placeholder 16">
            <a:extLst>
              <a:ext uri="{FF2B5EF4-FFF2-40B4-BE49-F238E27FC236}">
                <a16:creationId xmlns:a16="http://schemas.microsoft.com/office/drawing/2014/main" id="{68CE717A-752B-43A0-BF66-C6C3C7DAC4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65343" y="6657976"/>
            <a:ext cx="2160000" cy="166687"/>
          </a:xfrm>
        </p:spPr>
        <p:txBody>
          <a:bodyPr/>
          <a:lstStyle>
            <a:lvl1pPr marL="0" indent="0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Division/department</a:t>
            </a:r>
          </a:p>
        </p:txBody>
      </p:sp>
      <p:sp>
        <p:nvSpPr>
          <p:cNvPr id="35" name="Text Placeholder 16">
            <a:extLst>
              <a:ext uri="{FF2B5EF4-FFF2-40B4-BE49-F238E27FC236}">
                <a16:creationId xmlns:a16="http://schemas.microsoft.com/office/drawing/2014/main" id="{517EECEE-29BC-4895-AB6E-6340997F9B9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453" y="6657977"/>
            <a:ext cx="1278972" cy="166686"/>
          </a:xfrm>
        </p:spPr>
        <p:txBody>
          <a:bodyPr/>
          <a:lstStyle>
            <a:lvl1pPr marL="0" indent="0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Internal/external use only 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6FBD226F-9414-4FB5-83A2-363FED55F1C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34963" y="6144768"/>
            <a:ext cx="9881379" cy="445008"/>
          </a:xfrm>
        </p:spPr>
        <p:txBody>
          <a:bodyPr anchor="b"/>
          <a:lstStyle>
            <a:lvl1pPr>
              <a:spcAft>
                <a:spcPts val="300"/>
              </a:spcAft>
              <a:defRPr sz="9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r>
              <a:rPr lang="en-GB" dirty="0"/>
              <a:t>References and footnotes – Arial, Regular, Black, 9pt</a:t>
            </a:r>
          </a:p>
        </p:txBody>
      </p:sp>
    </p:spTree>
    <p:extLst>
      <p:ext uri="{BB962C8B-B14F-4D97-AF65-F5344CB8AC3E}">
        <p14:creationId xmlns:p14="http://schemas.microsoft.com/office/powerpoint/2010/main" val="399073998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erapeutic Areas Layout 5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730A641-718A-4713-8E2D-BB9063FB60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730A641-718A-4713-8E2D-BB9063FB60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8FF4ADB-5BF7-4835-B77B-3F6E533B330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Shape 698">
            <a:extLst>
              <a:ext uri="{FF2B5EF4-FFF2-40B4-BE49-F238E27FC236}">
                <a16:creationId xmlns:a16="http://schemas.microsoft.com/office/drawing/2014/main" id="{6877BAD3-B8DF-4C66-8616-FFDC83088CAB}"/>
              </a:ext>
            </a:extLst>
          </p:cNvPr>
          <p:cNvSpPr/>
          <p:nvPr userDrawn="1"/>
        </p:nvSpPr>
        <p:spPr>
          <a:xfrm>
            <a:off x="334963" y="1587554"/>
            <a:ext cx="2160000" cy="4323227"/>
          </a:xfrm>
          <a:prstGeom prst="rect">
            <a:avLst/>
          </a:prstGeom>
          <a:solidFill>
            <a:srgbClr val="E5E5E5"/>
          </a:solidFill>
          <a:ln w="12700">
            <a:miter lim="400000"/>
          </a:ln>
        </p:spPr>
        <p:txBody>
          <a:bodyPr lIns="45719" rIns="45719" anchor="ctr"/>
          <a:lstStyle/>
          <a:p>
            <a:pPr algn="ctr" eaLnBrk="1">
              <a:defRPr>
                <a:solidFill>
                  <a:srgbClr val="FFFFFF"/>
                </a:solidFill>
              </a:defRPr>
            </a:pPr>
            <a:endParaRPr lang="en-GB"/>
          </a:p>
        </p:txBody>
      </p:sp>
      <p:sp>
        <p:nvSpPr>
          <p:cNvPr id="53" name="Text Placeholder 14">
            <a:extLst>
              <a:ext uri="{FF2B5EF4-FFF2-40B4-BE49-F238E27FC236}">
                <a16:creationId xmlns:a16="http://schemas.microsoft.com/office/drawing/2014/main" id="{39533225-FFC5-44CF-8709-9E683CDC0396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342245" y="2551243"/>
            <a:ext cx="2149658" cy="717550"/>
          </a:xfrm>
          <a:noFill/>
        </p:spPr>
        <p:txBody>
          <a:bodyPr anchor="ctr"/>
          <a:lstStyle>
            <a:lvl1pPr algn="ctr"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add text – Use Format Menu to Add Fill Colou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548F3DC-6E1F-4A65-8F4E-E7DEA14C28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Slide title – Arial, Bold, Blue, 32pt</a:t>
            </a:r>
          </a:p>
        </p:txBody>
      </p:sp>
      <p:sp>
        <p:nvSpPr>
          <p:cNvPr id="5" name="Shape 708">
            <a:extLst>
              <a:ext uri="{FF2B5EF4-FFF2-40B4-BE49-F238E27FC236}">
                <a16:creationId xmlns:a16="http://schemas.microsoft.com/office/drawing/2014/main" id="{D7539651-66B9-4577-BF84-410C7DE82AE8}"/>
              </a:ext>
            </a:extLst>
          </p:cNvPr>
          <p:cNvSpPr/>
          <p:nvPr userDrawn="1"/>
        </p:nvSpPr>
        <p:spPr>
          <a:xfrm>
            <a:off x="7368912" y="1587554"/>
            <a:ext cx="2160001" cy="4323227"/>
          </a:xfrm>
          <a:prstGeom prst="rect">
            <a:avLst/>
          </a:prstGeom>
          <a:solidFill>
            <a:srgbClr val="E5E5E5"/>
          </a:solidFill>
          <a:ln w="12700">
            <a:miter lim="400000"/>
          </a:ln>
        </p:spPr>
        <p:txBody>
          <a:bodyPr lIns="45719" rIns="45719" anchor="ctr"/>
          <a:lstStyle/>
          <a:p>
            <a:pPr algn="ctr" eaLnBrk="1">
              <a:defRPr>
                <a:solidFill>
                  <a:srgbClr val="FFFFFF"/>
                </a:solidFill>
              </a:defRPr>
            </a:pPr>
            <a:endParaRPr lang="en-GB"/>
          </a:p>
        </p:txBody>
      </p:sp>
      <p:sp>
        <p:nvSpPr>
          <p:cNvPr id="6" name="Shape 703">
            <a:extLst>
              <a:ext uri="{FF2B5EF4-FFF2-40B4-BE49-F238E27FC236}">
                <a16:creationId xmlns:a16="http://schemas.microsoft.com/office/drawing/2014/main" id="{475A1EAB-E254-46AD-9255-B916B3F5F171}"/>
              </a:ext>
            </a:extLst>
          </p:cNvPr>
          <p:cNvSpPr/>
          <p:nvPr userDrawn="1"/>
        </p:nvSpPr>
        <p:spPr>
          <a:xfrm>
            <a:off x="2676300" y="1587554"/>
            <a:ext cx="2160000" cy="4323227"/>
          </a:xfrm>
          <a:prstGeom prst="rect">
            <a:avLst/>
          </a:prstGeom>
          <a:solidFill>
            <a:srgbClr val="E5E5E5"/>
          </a:solidFill>
          <a:ln w="12700">
            <a:miter lim="400000"/>
          </a:ln>
        </p:spPr>
        <p:txBody>
          <a:bodyPr lIns="45719" rIns="45719" anchor="ctr"/>
          <a:lstStyle/>
          <a:p>
            <a:pPr algn="ctr" eaLnBrk="1">
              <a:defRPr>
                <a:solidFill>
                  <a:srgbClr val="FFFFFF"/>
                </a:solidFill>
              </a:defRPr>
            </a:pPr>
            <a:endParaRPr lang="en-GB"/>
          </a:p>
        </p:txBody>
      </p:sp>
      <p:sp>
        <p:nvSpPr>
          <p:cNvPr id="7" name="Shape 713">
            <a:extLst>
              <a:ext uri="{FF2B5EF4-FFF2-40B4-BE49-F238E27FC236}">
                <a16:creationId xmlns:a16="http://schemas.microsoft.com/office/drawing/2014/main" id="{C804ECF1-16BA-4492-96E8-9CE204B1A562}"/>
              </a:ext>
            </a:extLst>
          </p:cNvPr>
          <p:cNvSpPr/>
          <p:nvPr userDrawn="1"/>
        </p:nvSpPr>
        <p:spPr>
          <a:xfrm>
            <a:off x="5027521" y="1587554"/>
            <a:ext cx="2160001" cy="4323227"/>
          </a:xfrm>
          <a:prstGeom prst="rect">
            <a:avLst/>
          </a:prstGeom>
          <a:solidFill>
            <a:srgbClr val="E5E5E5"/>
          </a:solidFill>
          <a:ln w="12700">
            <a:miter lim="400000"/>
          </a:ln>
        </p:spPr>
        <p:txBody>
          <a:bodyPr lIns="45719" rIns="45719" anchor="ctr"/>
          <a:lstStyle/>
          <a:p>
            <a:pPr algn="ctr" eaLnBrk="1">
              <a:defRPr>
                <a:solidFill>
                  <a:srgbClr val="FFFFFF"/>
                </a:solidFill>
              </a:defRPr>
            </a:pPr>
            <a:endParaRPr lang="en-GB"/>
          </a:p>
        </p:txBody>
      </p:sp>
      <p:sp>
        <p:nvSpPr>
          <p:cNvPr id="12" name="Shape 702">
            <a:extLst>
              <a:ext uri="{FF2B5EF4-FFF2-40B4-BE49-F238E27FC236}">
                <a16:creationId xmlns:a16="http://schemas.microsoft.com/office/drawing/2014/main" id="{096EAA02-AD65-4036-972A-6121F1995BC6}"/>
              </a:ext>
            </a:extLst>
          </p:cNvPr>
          <p:cNvSpPr/>
          <p:nvPr userDrawn="1"/>
        </p:nvSpPr>
        <p:spPr>
          <a:xfrm>
            <a:off x="334963" y="5910781"/>
            <a:ext cx="2160000" cy="75402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45719" rIns="45719" anchor="ctr"/>
          <a:lstStyle/>
          <a:p>
            <a:pPr algn="ctr" eaLnBrk="1">
              <a:defRPr>
                <a:solidFill>
                  <a:srgbClr val="FFFFFF"/>
                </a:solidFill>
              </a:defRPr>
            </a:pPr>
            <a:endParaRPr lang="en-GB"/>
          </a:p>
        </p:txBody>
      </p:sp>
      <p:sp>
        <p:nvSpPr>
          <p:cNvPr id="16" name="Shape 707">
            <a:extLst>
              <a:ext uri="{FF2B5EF4-FFF2-40B4-BE49-F238E27FC236}">
                <a16:creationId xmlns:a16="http://schemas.microsoft.com/office/drawing/2014/main" id="{B4DEF6D1-4BBC-42A0-A917-8129E647BEFE}"/>
              </a:ext>
            </a:extLst>
          </p:cNvPr>
          <p:cNvSpPr/>
          <p:nvPr userDrawn="1"/>
        </p:nvSpPr>
        <p:spPr>
          <a:xfrm>
            <a:off x="2676300" y="5910781"/>
            <a:ext cx="2160000" cy="75402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45719" rIns="45719" anchor="ctr"/>
          <a:lstStyle/>
          <a:p>
            <a:pPr algn="ctr" eaLnBrk="1">
              <a:defRPr>
                <a:solidFill>
                  <a:srgbClr val="FFFFFF"/>
                </a:solidFill>
              </a:defRPr>
            </a:pPr>
            <a:endParaRPr lang="en-GB"/>
          </a:p>
        </p:txBody>
      </p:sp>
      <p:sp>
        <p:nvSpPr>
          <p:cNvPr id="20" name="Shape 712">
            <a:extLst>
              <a:ext uri="{FF2B5EF4-FFF2-40B4-BE49-F238E27FC236}">
                <a16:creationId xmlns:a16="http://schemas.microsoft.com/office/drawing/2014/main" id="{301BD9F3-8BB5-4981-BC1F-D1627BB8A4EF}"/>
              </a:ext>
            </a:extLst>
          </p:cNvPr>
          <p:cNvSpPr/>
          <p:nvPr userDrawn="1"/>
        </p:nvSpPr>
        <p:spPr>
          <a:xfrm>
            <a:off x="7368912" y="5910781"/>
            <a:ext cx="2160001" cy="75402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45719" rIns="45719" anchor="ctr"/>
          <a:lstStyle/>
          <a:p>
            <a:pPr algn="ctr" eaLnBrk="1">
              <a:defRPr>
                <a:solidFill>
                  <a:srgbClr val="FFFFFF"/>
                </a:solidFill>
              </a:defRPr>
            </a:pPr>
            <a:endParaRPr lang="en-GB"/>
          </a:p>
        </p:txBody>
      </p:sp>
      <p:sp>
        <p:nvSpPr>
          <p:cNvPr id="24" name="Shape 717">
            <a:extLst>
              <a:ext uri="{FF2B5EF4-FFF2-40B4-BE49-F238E27FC236}">
                <a16:creationId xmlns:a16="http://schemas.microsoft.com/office/drawing/2014/main" id="{F292099A-56CE-41CD-BAB1-992D2C7AB7D7}"/>
              </a:ext>
            </a:extLst>
          </p:cNvPr>
          <p:cNvSpPr/>
          <p:nvPr userDrawn="1"/>
        </p:nvSpPr>
        <p:spPr>
          <a:xfrm>
            <a:off x="5027521" y="5910781"/>
            <a:ext cx="2160001" cy="75402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45719" rIns="45719" anchor="ctr"/>
          <a:lstStyle/>
          <a:p>
            <a:pPr algn="ctr" eaLnBrk="1">
              <a:defRPr>
                <a:solidFill>
                  <a:srgbClr val="FFFFFF"/>
                </a:solidFill>
              </a:defRPr>
            </a:pPr>
            <a:endParaRPr lang="en-GB"/>
          </a:p>
        </p:txBody>
      </p:sp>
      <p:grpSp>
        <p:nvGrpSpPr>
          <p:cNvPr id="25" name="Group 721">
            <a:extLst>
              <a:ext uri="{FF2B5EF4-FFF2-40B4-BE49-F238E27FC236}">
                <a16:creationId xmlns:a16="http://schemas.microsoft.com/office/drawing/2014/main" id="{FEE0AC84-C267-40E9-AA98-41B930CD45CF}"/>
              </a:ext>
            </a:extLst>
          </p:cNvPr>
          <p:cNvGrpSpPr/>
          <p:nvPr userDrawn="1"/>
        </p:nvGrpSpPr>
        <p:grpSpPr>
          <a:xfrm>
            <a:off x="9710301" y="2550715"/>
            <a:ext cx="2160002" cy="717551"/>
            <a:chOff x="0" y="0"/>
            <a:chExt cx="2160000" cy="717550"/>
          </a:xfrm>
        </p:grpSpPr>
        <p:sp>
          <p:nvSpPr>
            <p:cNvPr id="26" name="Shape 719">
              <a:extLst>
                <a:ext uri="{FF2B5EF4-FFF2-40B4-BE49-F238E27FC236}">
                  <a16:creationId xmlns:a16="http://schemas.microsoft.com/office/drawing/2014/main" id="{7933A48D-30E3-46C8-9459-86BAD5785A12}"/>
                </a:ext>
              </a:extLst>
            </p:cNvPr>
            <p:cNvSpPr/>
            <p:nvPr/>
          </p:nvSpPr>
          <p:spPr>
            <a:xfrm>
              <a:off x="0" y="0"/>
              <a:ext cx="2160000" cy="717550"/>
            </a:xfrm>
            <a:prstGeom prst="rect">
              <a:avLst/>
            </a:prstGeom>
            <a:solidFill>
              <a:schemeClr val="accent3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 eaLnBrk="1">
                <a:spcBef>
                  <a:spcPts val="300"/>
                </a:spcBef>
                <a:defRPr>
                  <a:solidFill>
                    <a:srgbClr val="FFFFFF"/>
                  </a:solidFill>
                </a:defRPr>
              </a:pPr>
              <a:endParaRPr lang="en-GB"/>
            </a:p>
          </p:txBody>
        </p:sp>
        <p:sp>
          <p:nvSpPr>
            <p:cNvPr id="27" name="Shape 720">
              <a:extLst>
                <a:ext uri="{FF2B5EF4-FFF2-40B4-BE49-F238E27FC236}">
                  <a16:creationId xmlns:a16="http://schemas.microsoft.com/office/drawing/2014/main" id="{2839EE45-E0E4-48A8-BE1F-B217BEEDF00F}"/>
                </a:ext>
              </a:extLst>
            </p:cNvPr>
            <p:cNvSpPr/>
            <p:nvPr/>
          </p:nvSpPr>
          <p:spPr>
            <a:xfrm>
              <a:off x="0" y="235665"/>
              <a:ext cx="2160000" cy="24622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>
                <a:spcBef>
                  <a:spcPts val="300"/>
                </a:spcBef>
                <a:defRPr sz="1600" b="1">
                  <a:solidFill>
                    <a:srgbClr val="FFFFFF"/>
                  </a:solidFill>
                </a:defRPr>
              </a:lvl1pPr>
            </a:lstStyle>
            <a:p>
              <a:r>
                <a:rPr lang="en-GB" b="0"/>
                <a:t>Endocrinology</a:t>
              </a:r>
            </a:p>
          </p:txBody>
        </p:sp>
      </p:grpSp>
      <p:sp>
        <p:nvSpPr>
          <p:cNvPr id="28" name="Shape 722">
            <a:extLst>
              <a:ext uri="{FF2B5EF4-FFF2-40B4-BE49-F238E27FC236}">
                <a16:creationId xmlns:a16="http://schemas.microsoft.com/office/drawing/2014/main" id="{B9430F7B-A945-4727-9A6D-0FCB23FA1A76}"/>
              </a:ext>
            </a:extLst>
          </p:cNvPr>
          <p:cNvSpPr/>
          <p:nvPr userDrawn="1"/>
        </p:nvSpPr>
        <p:spPr>
          <a:xfrm>
            <a:off x="9710835" y="5910781"/>
            <a:ext cx="2160001" cy="75402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45719" rIns="45719" anchor="ctr"/>
          <a:lstStyle/>
          <a:p>
            <a:pPr algn="ctr" eaLnBrk="1">
              <a:defRPr>
                <a:solidFill>
                  <a:srgbClr val="FFFFFF"/>
                </a:solidFill>
              </a:defRPr>
            </a:pPr>
            <a:endParaRPr lang="en-GB"/>
          </a:p>
        </p:txBody>
      </p:sp>
      <p:sp>
        <p:nvSpPr>
          <p:cNvPr id="54" name="Text Placeholder 14">
            <a:extLst>
              <a:ext uri="{FF2B5EF4-FFF2-40B4-BE49-F238E27FC236}">
                <a16:creationId xmlns:a16="http://schemas.microsoft.com/office/drawing/2014/main" id="{4114C370-5AF8-41B4-BB70-3565AFB8FCFA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407324" y="3345799"/>
            <a:ext cx="2003368" cy="2488974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55" name="Picture Placeholder 3">
            <a:extLst>
              <a:ext uri="{FF2B5EF4-FFF2-40B4-BE49-F238E27FC236}">
                <a16:creationId xmlns:a16="http://schemas.microsoft.com/office/drawing/2014/main" id="{68C5E68F-D04B-446C-850C-80AD99A0D494}"/>
              </a:ext>
            </a:extLst>
          </p:cNvPr>
          <p:cNvSpPr>
            <a:spLocks noGrp="1"/>
          </p:cNvSpPr>
          <p:nvPr userDrawn="1">
            <p:ph type="pic" sz="quarter" idx="27"/>
          </p:nvPr>
        </p:nvSpPr>
        <p:spPr>
          <a:xfrm>
            <a:off x="1042485" y="1664271"/>
            <a:ext cx="733045" cy="818284"/>
          </a:xfrm>
        </p:spPr>
        <p:txBody>
          <a:bodyPr/>
          <a:lstStyle>
            <a:lvl1pPr algn="ctr">
              <a:defRPr sz="10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6" name="Shape 708">
            <a:extLst>
              <a:ext uri="{FF2B5EF4-FFF2-40B4-BE49-F238E27FC236}">
                <a16:creationId xmlns:a16="http://schemas.microsoft.com/office/drawing/2014/main" id="{2714C54F-0C2E-4074-BD03-B1D93EC481F4}"/>
              </a:ext>
            </a:extLst>
          </p:cNvPr>
          <p:cNvSpPr/>
          <p:nvPr userDrawn="1"/>
        </p:nvSpPr>
        <p:spPr>
          <a:xfrm>
            <a:off x="9706997" y="1586949"/>
            <a:ext cx="2160001" cy="4323227"/>
          </a:xfrm>
          <a:prstGeom prst="rect">
            <a:avLst/>
          </a:prstGeom>
          <a:solidFill>
            <a:srgbClr val="E5E5E5"/>
          </a:solidFill>
          <a:ln w="12700">
            <a:miter lim="400000"/>
          </a:ln>
        </p:spPr>
        <p:txBody>
          <a:bodyPr lIns="45719" rIns="45719" anchor="ctr"/>
          <a:lstStyle/>
          <a:p>
            <a:pPr algn="ctr" eaLnBrk="1">
              <a:defRPr>
                <a:solidFill>
                  <a:srgbClr val="FFFFFF"/>
                </a:solidFill>
              </a:defRPr>
            </a:pPr>
            <a:endParaRPr lang="en-GB"/>
          </a:p>
        </p:txBody>
      </p:sp>
      <p:sp>
        <p:nvSpPr>
          <p:cNvPr id="57" name="Text Placeholder 14">
            <a:extLst>
              <a:ext uri="{FF2B5EF4-FFF2-40B4-BE49-F238E27FC236}">
                <a16:creationId xmlns:a16="http://schemas.microsoft.com/office/drawing/2014/main" id="{17CEB14C-699D-4C14-B819-819C03BBA14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669987" y="2550715"/>
            <a:ext cx="2149658" cy="717550"/>
          </a:xfrm>
          <a:noFill/>
        </p:spPr>
        <p:txBody>
          <a:bodyPr anchor="ctr"/>
          <a:lstStyle>
            <a:lvl1pPr algn="ctr"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add text – Use Format Menu to Add Fill Colour</a:t>
            </a:r>
          </a:p>
        </p:txBody>
      </p:sp>
      <p:sp>
        <p:nvSpPr>
          <p:cNvPr id="58" name="Text Placeholder 14">
            <a:extLst>
              <a:ext uri="{FF2B5EF4-FFF2-40B4-BE49-F238E27FC236}">
                <a16:creationId xmlns:a16="http://schemas.microsoft.com/office/drawing/2014/main" id="{C2EED053-9648-4D83-90A5-45A598303E3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735066" y="3345271"/>
            <a:ext cx="2003368" cy="2488974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59" name="Picture Placeholder 3">
            <a:extLst>
              <a:ext uri="{FF2B5EF4-FFF2-40B4-BE49-F238E27FC236}">
                <a16:creationId xmlns:a16="http://schemas.microsoft.com/office/drawing/2014/main" id="{45C2C2C5-D769-4075-BE93-823AAE986319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370227" y="1663743"/>
            <a:ext cx="733045" cy="818284"/>
          </a:xfrm>
        </p:spPr>
        <p:txBody>
          <a:bodyPr/>
          <a:lstStyle>
            <a:lvl1pPr algn="ctr">
              <a:defRPr sz="10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60" name="Text Placeholder 14">
            <a:extLst>
              <a:ext uri="{FF2B5EF4-FFF2-40B4-BE49-F238E27FC236}">
                <a16:creationId xmlns:a16="http://schemas.microsoft.com/office/drawing/2014/main" id="{89A6EFC1-F0D4-480D-82C9-7AA6E669192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033488" y="2550715"/>
            <a:ext cx="2149658" cy="717550"/>
          </a:xfrm>
          <a:noFill/>
        </p:spPr>
        <p:txBody>
          <a:bodyPr anchor="ctr"/>
          <a:lstStyle>
            <a:lvl1pPr algn="ctr"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add text – Use Format Menu to Add Fill Colour</a:t>
            </a:r>
          </a:p>
        </p:txBody>
      </p:sp>
      <p:sp>
        <p:nvSpPr>
          <p:cNvPr id="61" name="Text Placeholder 14">
            <a:extLst>
              <a:ext uri="{FF2B5EF4-FFF2-40B4-BE49-F238E27FC236}">
                <a16:creationId xmlns:a16="http://schemas.microsoft.com/office/drawing/2014/main" id="{2BB5AED1-2EBE-4648-A069-1DCA40C7673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098567" y="3345271"/>
            <a:ext cx="2003368" cy="2488974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62" name="Picture Placeholder 3">
            <a:extLst>
              <a:ext uri="{FF2B5EF4-FFF2-40B4-BE49-F238E27FC236}">
                <a16:creationId xmlns:a16="http://schemas.microsoft.com/office/drawing/2014/main" id="{5AA840FB-A262-43B8-A124-D2AB150B95F9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733728" y="1663743"/>
            <a:ext cx="733045" cy="818284"/>
          </a:xfrm>
        </p:spPr>
        <p:txBody>
          <a:bodyPr/>
          <a:lstStyle>
            <a:lvl1pPr algn="ctr">
              <a:defRPr sz="10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63" name="Text Placeholder 14">
            <a:extLst>
              <a:ext uri="{FF2B5EF4-FFF2-40B4-BE49-F238E27FC236}">
                <a16:creationId xmlns:a16="http://schemas.microsoft.com/office/drawing/2014/main" id="{BA6AD4B5-8DCC-46A7-91EC-E749ADCCD92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369324" y="2550715"/>
            <a:ext cx="2149658" cy="717550"/>
          </a:xfrm>
          <a:noFill/>
        </p:spPr>
        <p:txBody>
          <a:bodyPr anchor="ctr"/>
          <a:lstStyle>
            <a:lvl1pPr algn="ctr"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add text – Use Format Menu to Add Fill Colour</a:t>
            </a:r>
          </a:p>
        </p:txBody>
      </p:sp>
      <p:sp>
        <p:nvSpPr>
          <p:cNvPr id="64" name="Text Placeholder 14">
            <a:extLst>
              <a:ext uri="{FF2B5EF4-FFF2-40B4-BE49-F238E27FC236}">
                <a16:creationId xmlns:a16="http://schemas.microsoft.com/office/drawing/2014/main" id="{D678453D-9829-46C0-AA6A-502A6CA50C7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434403" y="3345271"/>
            <a:ext cx="2003368" cy="2488974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65" name="Picture Placeholder 3">
            <a:extLst>
              <a:ext uri="{FF2B5EF4-FFF2-40B4-BE49-F238E27FC236}">
                <a16:creationId xmlns:a16="http://schemas.microsoft.com/office/drawing/2014/main" id="{DD5FEE92-C0A9-47DA-9061-90C405AF4C0A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8069564" y="1663743"/>
            <a:ext cx="733045" cy="818284"/>
          </a:xfrm>
        </p:spPr>
        <p:txBody>
          <a:bodyPr/>
          <a:lstStyle>
            <a:lvl1pPr algn="ctr">
              <a:defRPr sz="10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66" name="Text Placeholder 14">
            <a:extLst>
              <a:ext uri="{FF2B5EF4-FFF2-40B4-BE49-F238E27FC236}">
                <a16:creationId xmlns:a16="http://schemas.microsoft.com/office/drawing/2014/main" id="{8F52BA06-873C-4AEE-94EB-0B467501D55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717140" y="2550715"/>
            <a:ext cx="2149658" cy="717550"/>
          </a:xfrm>
          <a:noFill/>
        </p:spPr>
        <p:txBody>
          <a:bodyPr anchor="ctr"/>
          <a:lstStyle>
            <a:lvl1pPr algn="ctr"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add text – Use Format Menu to Add Fill Colour</a:t>
            </a:r>
          </a:p>
        </p:txBody>
      </p:sp>
      <p:sp>
        <p:nvSpPr>
          <p:cNvPr id="67" name="Text Placeholder 14">
            <a:extLst>
              <a:ext uri="{FF2B5EF4-FFF2-40B4-BE49-F238E27FC236}">
                <a16:creationId xmlns:a16="http://schemas.microsoft.com/office/drawing/2014/main" id="{C187C497-AD3F-494D-A5D5-D8729409662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82219" y="3345271"/>
            <a:ext cx="2003368" cy="2488974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68" name="Picture Placeholder 3">
            <a:extLst>
              <a:ext uri="{FF2B5EF4-FFF2-40B4-BE49-F238E27FC236}">
                <a16:creationId xmlns:a16="http://schemas.microsoft.com/office/drawing/2014/main" id="{8DA39D99-A8DD-4D60-B115-280D01040A70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10417380" y="1663743"/>
            <a:ext cx="733045" cy="818284"/>
          </a:xfrm>
        </p:spPr>
        <p:txBody>
          <a:bodyPr/>
          <a:lstStyle>
            <a:lvl1pPr algn="ctr">
              <a:defRPr sz="10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69" name="Text Placeholder 8">
            <a:extLst>
              <a:ext uri="{FF2B5EF4-FFF2-40B4-BE49-F238E27FC236}">
                <a16:creationId xmlns:a16="http://schemas.microsoft.com/office/drawing/2014/main" id="{350B649D-893D-430A-B922-B91C44453F1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9317" y="1044575"/>
            <a:ext cx="11541980" cy="381000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r>
              <a:rPr lang="en-GB"/>
              <a:t>Subtitle – Arial, Regular, Blue, 24pt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F26E4A84-CB5E-43A9-806B-4E16ED84F097}"/>
              </a:ext>
            </a:extLst>
          </p:cNvPr>
          <p:cNvSpPr txBox="1"/>
          <p:nvPr userDrawn="1"/>
        </p:nvSpPr>
        <p:spPr>
          <a:xfrm>
            <a:off x="310355" y="6657976"/>
            <a:ext cx="236219" cy="1666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1pPr>
            <a:lvl2pPr marL="238125" indent="-22383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lvl2pPr>
            <a:lvl3pPr marL="414338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3pPr>
            <a:lvl4pPr marL="566738" indent="-152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4pPr>
            <a:lvl5pPr marL="714375" indent="-1381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fld id="{1937EBA7-6943-4C94-B5FE-2B37DB52AF80}" type="slidenum">
              <a:rPr lang="en-GB" smtClean="0">
                <a:solidFill>
                  <a:srgbClr val="808080"/>
                </a:solidFill>
              </a:rPr>
              <a:t>‹#›</a:t>
            </a:fld>
            <a:endParaRPr lang="en-GB">
              <a:solidFill>
                <a:srgbClr val="808080"/>
              </a:solidFill>
            </a:endParaRPr>
          </a:p>
        </p:txBody>
      </p:sp>
      <p:sp>
        <p:nvSpPr>
          <p:cNvPr id="72" name="Text Placeholder 16">
            <a:extLst>
              <a:ext uri="{FF2B5EF4-FFF2-40B4-BE49-F238E27FC236}">
                <a16:creationId xmlns:a16="http://schemas.microsoft.com/office/drawing/2014/main" id="{4A2E7B65-9B46-4ECE-8AEF-2F10C6463CA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72798" y="6657976"/>
            <a:ext cx="1898499" cy="166687"/>
          </a:xfrm>
        </p:spPr>
        <p:txBody>
          <a:bodyPr/>
          <a:lstStyle>
            <a:lvl1pPr marL="0" indent="0" algn="r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/>
              <a:t>Section title</a:t>
            </a:r>
          </a:p>
        </p:txBody>
      </p:sp>
      <p:sp>
        <p:nvSpPr>
          <p:cNvPr id="73" name="Text Placeholder 16">
            <a:extLst>
              <a:ext uri="{FF2B5EF4-FFF2-40B4-BE49-F238E27FC236}">
                <a16:creationId xmlns:a16="http://schemas.microsoft.com/office/drawing/2014/main" id="{963CF7A0-9C86-46ED-9CB2-92E5D5001B3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65343" y="6657976"/>
            <a:ext cx="2160000" cy="166687"/>
          </a:xfrm>
        </p:spPr>
        <p:txBody>
          <a:bodyPr/>
          <a:lstStyle>
            <a:lvl1pPr marL="0" indent="0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/>
              <a:t>Division/department</a:t>
            </a:r>
          </a:p>
        </p:txBody>
      </p:sp>
      <p:sp>
        <p:nvSpPr>
          <p:cNvPr id="74" name="Text Placeholder 16">
            <a:extLst>
              <a:ext uri="{FF2B5EF4-FFF2-40B4-BE49-F238E27FC236}">
                <a16:creationId xmlns:a16="http://schemas.microsoft.com/office/drawing/2014/main" id="{DBA0A4DE-2D50-4B37-AE72-83B7432B6FC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453" y="6657977"/>
            <a:ext cx="1278972" cy="166686"/>
          </a:xfrm>
        </p:spPr>
        <p:txBody>
          <a:bodyPr/>
          <a:lstStyle>
            <a:lvl1pPr marL="0" indent="0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/>
              <a:t>Internal/external use only 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524CEB6A-6DF6-4209-AC6B-88F837443B7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6144768"/>
            <a:ext cx="9881379" cy="445008"/>
          </a:xfrm>
        </p:spPr>
        <p:txBody>
          <a:bodyPr anchor="b"/>
          <a:lstStyle>
            <a:lvl1pPr>
              <a:spcAft>
                <a:spcPts val="300"/>
              </a:spcAft>
              <a:defRPr sz="9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r>
              <a:rPr lang="en-GB"/>
              <a:t>References and footnotes – Arial, Regular, Black, 9pt</a:t>
            </a:r>
          </a:p>
        </p:txBody>
      </p:sp>
    </p:spTree>
    <p:extLst>
      <p:ext uri="{BB962C8B-B14F-4D97-AF65-F5344CB8AC3E}">
        <p14:creationId xmlns:p14="http://schemas.microsoft.com/office/powerpoint/2010/main" val="10474183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12739-F681-45B7-B1BD-64846125F626}" type="datetimeFigureOut">
              <a:rPr lang="en-GB" smtClean="0"/>
              <a:t>19/05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C95CCA-56E0-4280-9F24-84D40032D07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2312771"/>
      </p:ext>
    </p:extLst>
  </p:cSld>
  <p:clrMapOvr>
    <a:masterClrMapping/>
  </p:clrMapOvr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D52441F-08A7-4856-B7C9-5A0E14CE6E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D52441F-08A7-4856-B7C9-5A0E14CE6E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0FE8DE5-D1E8-48B7-8CAE-88E0674CB53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9F2801-8A53-4D26-950A-EA94FEC1BA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9317" y="428734"/>
            <a:ext cx="11541980" cy="453862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Slide title – Arial, Bold, Blue, 32pt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902A3E2A-B5D6-4020-A772-4501D327F16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9317" y="1044575"/>
            <a:ext cx="11541980" cy="381000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r>
              <a:rPr lang="en-GB" dirty="0"/>
              <a:t>Subtitle – Arial, Regular, Blue, 24p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294ABDB-5B6C-4365-94A3-F3F49231FEA3}"/>
              </a:ext>
            </a:extLst>
          </p:cNvPr>
          <p:cNvSpPr txBox="1"/>
          <p:nvPr userDrawn="1"/>
        </p:nvSpPr>
        <p:spPr>
          <a:xfrm>
            <a:off x="310355" y="6657976"/>
            <a:ext cx="236219" cy="1666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1pPr>
            <a:lvl2pPr marL="238125" indent="-22383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lvl2pPr>
            <a:lvl3pPr marL="414338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3pPr>
            <a:lvl4pPr marL="566738" indent="-152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4pPr>
            <a:lvl5pPr marL="714375" indent="-1381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fld id="{1937EBA7-6943-4C94-B5FE-2B37DB52AF80}" type="slidenum">
              <a:rPr lang="en-GB" smtClean="0">
                <a:solidFill>
                  <a:srgbClr val="808080"/>
                </a:solidFill>
              </a:rPr>
              <a:t>‹#›</a:t>
            </a:fld>
            <a:endParaRPr lang="en-GB" dirty="0">
              <a:solidFill>
                <a:srgbClr val="808080"/>
              </a:solidFill>
            </a:endParaRPr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57DB7278-F8A8-4CFE-A5BD-9D745779C7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72798" y="6657976"/>
            <a:ext cx="1898499" cy="166687"/>
          </a:xfrm>
        </p:spPr>
        <p:txBody>
          <a:bodyPr/>
          <a:lstStyle>
            <a:lvl1pPr marL="0" indent="0" algn="r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37B9EDA9-A189-4668-A24C-4DA764EBAE2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65343" y="6657976"/>
            <a:ext cx="2160000" cy="166687"/>
          </a:xfrm>
        </p:spPr>
        <p:txBody>
          <a:bodyPr/>
          <a:lstStyle>
            <a:lvl1pPr marL="0" indent="0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Division/department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8DAE012F-C5AA-42DA-AB46-98C71559C9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453" y="6657977"/>
            <a:ext cx="1278972" cy="166686"/>
          </a:xfrm>
        </p:spPr>
        <p:txBody>
          <a:bodyPr/>
          <a:lstStyle>
            <a:lvl1pPr marL="0" indent="0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Internal/external use only 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9FC5CB3-84D0-49CF-810F-5E250C922E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6144768"/>
            <a:ext cx="9881379" cy="445008"/>
          </a:xfrm>
        </p:spPr>
        <p:txBody>
          <a:bodyPr anchor="b"/>
          <a:lstStyle>
            <a:lvl1pPr>
              <a:spcAft>
                <a:spcPts val="300"/>
              </a:spcAft>
              <a:defRPr sz="9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r>
              <a:rPr lang="en-GB" dirty="0"/>
              <a:t>References and footnotes – Arial, Regular, Black, 9pt</a:t>
            </a:r>
          </a:p>
        </p:txBody>
      </p:sp>
    </p:spTree>
    <p:extLst>
      <p:ext uri="{BB962C8B-B14F-4D97-AF65-F5344CB8AC3E}">
        <p14:creationId xmlns:p14="http://schemas.microsoft.com/office/powerpoint/2010/main" val="416767784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BF7E67A-00F3-4BD2-9B68-D149C0ADD3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BF7E67A-00F3-4BD2-9B68-D149C0ADD3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0F19253-2D39-4C25-BB4C-A50579CAEBC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9F2801-8A53-4D26-950A-EA94FEC1BA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9317" y="428734"/>
            <a:ext cx="11541980" cy="453862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Slide title – Arial, Bold, Blue, 32p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1DDF3BA-A649-4A01-B7EB-7445E7644AEE}"/>
              </a:ext>
            </a:extLst>
          </p:cNvPr>
          <p:cNvSpPr txBox="1"/>
          <p:nvPr userDrawn="1"/>
        </p:nvSpPr>
        <p:spPr>
          <a:xfrm>
            <a:off x="310355" y="6657976"/>
            <a:ext cx="236219" cy="1666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1pPr>
            <a:lvl2pPr marL="238125" indent="-22383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lvl2pPr>
            <a:lvl3pPr marL="414338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3pPr>
            <a:lvl4pPr marL="566738" indent="-152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4pPr>
            <a:lvl5pPr marL="714375" indent="-1381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fld id="{1937EBA7-6943-4C94-B5FE-2B37DB52AF80}" type="slidenum">
              <a:rPr lang="en-GB" smtClean="0">
                <a:solidFill>
                  <a:srgbClr val="808080"/>
                </a:solidFill>
              </a:rPr>
              <a:t>‹#›</a:t>
            </a:fld>
            <a:endParaRPr lang="en-GB" dirty="0">
              <a:solidFill>
                <a:srgbClr val="808080"/>
              </a:solidFill>
            </a:endParaRPr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B9CF63D3-CB09-4B39-91B7-1A9290D5C8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72798" y="6657976"/>
            <a:ext cx="1898499" cy="166687"/>
          </a:xfrm>
        </p:spPr>
        <p:txBody>
          <a:bodyPr/>
          <a:lstStyle>
            <a:lvl1pPr marL="0" indent="0" algn="r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AEDD6812-E0E1-4621-BF85-370DB85180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65343" y="6657976"/>
            <a:ext cx="2160000" cy="166687"/>
          </a:xfrm>
        </p:spPr>
        <p:txBody>
          <a:bodyPr/>
          <a:lstStyle>
            <a:lvl1pPr marL="0" indent="0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Division/department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D62CAACF-2A7A-4405-A4B1-527C6B29B8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453" y="6657977"/>
            <a:ext cx="1278972" cy="166686"/>
          </a:xfrm>
        </p:spPr>
        <p:txBody>
          <a:bodyPr/>
          <a:lstStyle>
            <a:lvl1pPr marL="0" indent="0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Internal/external use only 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D027240-85E8-4460-89B5-E71C874373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6144768"/>
            <a:ext cx="9881379" cy="445008"/>
          </a:xfrm>
        </p:spPr>
        <p:txBody>
          <a:bodyPr anchor="b"/>
          <a:lstStyle>
            <a:lvl1pPr>
              <a:spcAft>
                <a:spcPts val="300"/>
              </a:spcAft>
              <a:defRPr sz="9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r>
              <a:rPr lang="en-GB" dirty="0"/>
              <a:t>References and footnotes – Arial, Regular, Black, 9pt</a:t>
            </a:r>
          </a:p>
        </p:txBody>
      </p:sp>
    </p:spTree>
    <p:extLst>
      <p:ext uri="{BB962C8B-B14F-4D97-AF65-F5344CB8AC3E}">
        <p14:creationId xmlns:p14="http://schemas.microsoft.com/office/powerpoint/2010/main" val="370949759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58C2AF9-0B32-48FA-9278-A746A9F04BA1}"/>
              </a:ext>
            </a:extLst>
          </p:cNvPr>
          <p:cNvSpPr txBox="1"/>
          <p:nvPr userDrawn="1"/>
        </p:nvSpPr>
        <p:spPr>
          <a:xfrm>
            <a:off x="310355" y="6657976"/>
            <a:ext cx="236219" cy="1666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1pPr>
            <a:lvl2pPr marL="238125" indent="-22383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lvl2pPr>
            <a:lvl3pPr marL="414338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3pPr>
            <a:lvl4pPr marL="566738" indent="-152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4pPr>
            <a:lvl5pPr marL="714375" indent="-1381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fld id="{1937EBA7-6943-4C94-B5FE-2B37DB52AF80}" type="slidenum">
              <a:rPr lang="en-GB" smtClean="0">
                <a:solidFill>
                  <a:srgbClr val="808080"/>
                </a:solidFill>
              </a:rPr>
              <a:t>‹#›</a:t>
            </a:fld>
            <a:endParaRPr lang="en-GB" dirty="0">
              <a:solidFill>
                <a:srgbClr val="808080"/>
              </a:solidFill>
            </a:endParaRP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6CF611C0-3D4E-4F8D-8F21-21129DB630F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72798" y="6657976"/>
            <a:ext cx="1897547" cy="166687"/>
          </a:xfrm>
        </p:spPr>
        <p:txBody>
          <a:bodyPr/>
          <a:lstStyle>
            <a:lvl1pPr marL="0" indent="0" algn="r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85E1F640-71B3-4B61-A1BC-E1B50D88ABE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65343" y="6657976"/>
            <a:ext cx="2160000" cy="166687"/>
          </a:xfrm>
        </p:spPr>
        <p:txBody>
          <a:bodyPr/>
          <a:lstStyle>
            <a:lvl1pPr marL="0" indent="0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Division/department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5706A7C1-D097-48AC-B0AE-7B9E4854A6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453" y="6657977"/>
            <a:ext cx="1278972" cy="166686"/>
          </a:xfrm>
        </p:spPr>
        <p:txBody>
          <a:bodyPr/>
          <a:lstStyle>
            <a:lvl1pPr marL="0" indent="0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Internal/ex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221637522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01F6BA-BB01-423B-9A26-06133A516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317" y="428734"/>
            <a:ext cx="11541980" cy="45386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05F84B-B700-43A7-B713-CFC32FA646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9317" y="1632378"/>
            <a:ext cx="11541979" cy="4351338"/>
          </a:xfrm>
        </p:spPr>
        <p:txBody>
          <a:bodyPr/>
          <a:lstStyle>
            <a:lvl5pPr>
              <a:defRPr sz="119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E3FE298-CB1C-4C5B-8B4C-98258C7D1B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9317" y="1044575"/>
            <a:ext cx="11541978" cy="381000"/>
          </a:xfrm>
        </p:spPr>
        <p:txBody>
          <a:bodyPr/>
          <a:lstStyle>
            <a:lvl1pPr>
              <a:defRPr sz="2394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8075DE43-95CB-4C5E-8250-6391CBCBEAE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82959" y="6657978"/>
            <a:ext cx="1075533" cy="166687"/>
          </a:xfrm>
        </p:spPr>
        <p:txBody>
          <a:bodyPr/>
          <a:lstStyle>
            <a:lvl1pPr marL="0" indent="0">
              <a:buNone/>
              <a:defRPr sz="898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Division/department</a:t>
            </a: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17894C8D-78AD-4721-A862-03F947488C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65679" y="6657978"/>
            <a:ext cx="1949196" cy="166687"/>
          </a:xfrm>
        </p:spPr>
        <p:txBody>
          <a:bodyPr/>
          <a:lstStyle>
            <a:lvl1pPr marL="0" indent="0">
              <a:buNone/>
              <a:defRPr sz="898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ACFECBD-2E7F-47C5-894F-2C6D9C7B2F67}"/>
              </a:ext>
            </a:extLst>
          </p:cNvPr>
          <p:cNvSpPr txBox="1"/>
          <p:nvPr userDrawn="1"/>
        </p:nvSpPr>
        <p:spPr>
          <a:xfrm>
            <a:off x="310356" y="6657978"/>
            <a:ext cx="236219" cy="1666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1pPr>
            <a:lvl2pPr marL="238125" indent="-22383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lvl2pPr>
            <a:lvl3pPr marL="414338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3pPr>
            <a:lvl4pPr marL="566738" indent="-152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4pPr>
            <a:lvl5pPr marL="714375" indent="-1381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rgbClr val="0088CE"/>
              </a:buClr>
            </a:pPr>
            <a:fld id="{1937EBA7-6943-4C94-B5FE-2B37DB52AF80}" type="slidenum">
              <a:rPr lang="en-GB" sz="898" smtClean="0">
                <a:solidFill>
                  <a:srgbClr val="808080"/>
                </a:solidFill>
              </a:rPr>
              <a:pPr>
                <a:buClr>
                  <a:srgbClr val="0088CE"/>
                </a:buClr>
              </a:pPr>
              <a:t>‹#›</a:t>
            </a:fld>
            <a:endParaRPr lang="en-GB" sz="898" dirty="0">
              <a:solidFill>
                <a:srgbClr val="808080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CF12EDC-1B50-453C-BFBD-D5B601DD8F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4963" y="6144768"/>
            <a:ext cx="10448860" cy="445008"/>
          </a:xfrm>
        </p:spPr>
        <p:txBody>
          <a:bodyPr anchor="b"/>
          <a:lstStyle>
            <a:lvl1pPr>
              <a:spcAft>
                <a:spcPts val="299"/>
              </a:spcAft>
              <a:defRPr sz="898"/>
            </a:lvl1pPr>
            <a:lvl2pPr>
              <a:defRPr sz="1097"/>
            </a:lvl2pPr>
            <a:lvl3pPr>
              <a:defRPr sz="1047"/>
            </a:lvl3pPr>
            <a:lvl4pPr>
              <a:defRPr sz="998"/>
            </a:lvl4pPr>
            <a:lvl5pPr>
              <a:defRPr sz="998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43839FF1-8AB7-4EE7-AFDC-678127D766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6454" y="6657978"/>
            <a:ext cx="878300" cy="166687"/>
          </a:xfrm>
        </p:spPr>
        <p:txBody>
          <a:bodyPr/>
          <a:lstStyle>
            <a:lvl1pPr marL="0" indent="0">
              <a:buNone/>
              <a:defRPr sz="898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54514681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01F6BA-BB01-423B-9A26-06133A516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317" y="428734"/>
            <a:ext cx="11541978" cy="45386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05F84B-B700-43A7-B713-CFC32FA646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9316" y="1632378"/>
            <a:ext cx="11541979" cy="4351338"/>
          </a:xfrm>
        </p:spPr>
        <p:txBody>
          <a:bodyPr/>
          <a:lstStyle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E3FE298-CB1C-4C5B-8B4C-98258C7D1B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9317" y="1044574"/>
            <a:ext cx="11541978" cy="426751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ACFECBD-2E7F-47C5-894F-2C6D9C7B2F67}"/>
              </a:ext>
            </a:extLst>
          </p:cNvPr>
          <p:cNvSpPr txBox="1"/>
          <p:nvPr userDrawn="1"/>
        </p:nvSpPr>
        <p:spPr>
          <a:xfrm>
            <a:off x="310355" y="6657976"/>
            <a:ext cx="236219" cy="1666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1pPr>
            <a:lvl2pPr marL="238125" indent="-22383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lvl2pPr>
            <a:lvl3pPr marL="414338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3pPr>
            <a:lvl4pPr marL="566738" indent="-152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4pPr>
            <a:lvl5pPr marL="714375" indent="-1381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fld id="{1937EBA7-6943-4C94-B5FE-2B37DB52AF80}" type="slidenum">
              <a:rPr lang="en-GB" smtClean="0">
                <a:solidFill>
                  <a:srgbClr val="808080"/>
                </a:solidFill>
              </a:rPr>
              <a:t>‹#›</a:t>
            </a:fld>
            <a:endParaRPr lang="en-GB" dirty="0">
              <a:solidFill>
                <a:srgbClr val="808080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CF12EDC-1B50-453C-BFBD-D5B601DD8F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4963" y="6144768"/>
            <a:ext cx="10448860" cy="445008"/>
          </a:xfrm>
        </p:spPr>
        <p:txBody>
          <a:bodyPr anchor="b"/>
          <a:lstStyle>
            <a:lvl1pPr>
              <a:spcAft>
                <a:spcPts val="300"/>
              </a:spcAft>
              <a:defRPr sz="9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02893AFA-BF58-47BA-9AE9-E8FB1F830A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72798" y="6657976"/>
            <a:ext cx="1898497" cy="166687"/>
          </a:xfrm>
        </p:spPr>
        <p:txBody>
          <a:bodyPr/>
          <a:lstStyle>
            <a:lvl1pPr marL="0" indent="0" algn="r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9D7BBCF1-BC9C-4393-B676-63F680026A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65343" y="6657976"/>
            <a:ext cx="2160000" cy="166687"/>
          </a:xfrm>
        </p:spPr>
        <p:txBody>
          <a:bodyPr/>
          <a:lstStyle>
            <a:lvl1pPr marL="0" indent="0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Division/department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88E72ADA-2624-47BB-ADAD-F8C7853DB0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453" y="6657977"/>
            <a:ext cx="1278972" cy="166686"/>
          </a:xfrm>
        </p:spPr>
        <p:txBody>
          <a:bodyPr/>
          <a:lstStyle>
            <a:lvl1pPr marL="0" indent="0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Internal/ex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29919738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uppieren 18"/>
          <p:cNvGrpSpPr/>
          <p:nvPr userDrawn="1"/>
        </p:nvGrpSpPr>
        <p:grpSpPr>
          <a:xfrm>
            <a:off x="-576075" y="1187725"/>
            <a:ext cx="504067" cy="5326767"/>
            <a:chOff x="-576000" y="1188000"/>
            <a:chExt cx="504001" cy="5328000"/>
          </a:xfrm>
        </p:grpSpPr>
        <p:cxnSp>
          <p:nvCxnSpPr>
            <p:cNvPr id="21" name="Gerade Verbindung 20"/>
            <p:cNvCxnSpPr/>
            <p:nvPr userDrawn="1"/>
          </p:nvCxnSpPr>
          <p:spPr>
            <a:xfrm>
              <a:off x="-575999" y="1188000"/>
              <a:ext cx="504000" cy="0"/>
            </a:xfrm>
            <a:prstGeom prst="line">
              <a:avLst/>
            </a:prstGeom>
            <a:ln w="6350" cap="sq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>
            <a:xfrm>
              <a:off x="-575999" y="6516000"/>
              <a:ext cx="504000" cy="0"/>
            </a:xfrm>
            <a:prstGeom prst="line">
              <a:avLst/>
            </a:prstGeom>
            <a:ln w="6350" cap="sq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>
            <a:xfrm>
              <a:off x="-576000" y="1188000"/>
              <a:ext cx="0" cy="5328000"/>
            </a:xfrm>
            <a:prstGeom prst="line">
              <a:avLst/>
            </a:prstGeom>
            <a:ln w="6350" cap="sq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>
            <a:xfrm>
              <a:off x="-576000" y="1944000"/>
              <a:ext cx="360000" cy="0"/>
            </a:xfrm>
            <a:prstGeom prst="line">
              <a:avLst/>
            </a:prstGeom>
            <a:ln w="6350" cap="sq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>
            <a:xfrm>
              <a:off x="-576000" y="2124000"/>
              <a:ext cx="360000" cy="0"/>
            </a:xfrm>
            <a:prstGeom prst="line">
              <a:avLst/>
            </a:prstGeom>
            <a:ln w="6350" cap="sq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 userDrawn="1"/>
        </p:nvGrpSpPr>
        <p:grpSpPr>
          <a:xfrm>
            <a:off x="12263196" y="1187725"/>
            <a:ext cx="252033" cy="5326767"/>
            <a:chOff x="9216000" y="1188000"/>
            <a:chExt cx="252000" cy="5328000"/>
          </a:xfrm>
        </p:grpSpPr>
        <p:grpSp>
          <p:nvGrpSpPr>
            <p:cNvPr id="29" name="Gruppieren 28"/>
            <p:cNvGrpSpPr/>
            <p:nvPr userDrawn="1"/>
          </p:nvGrpSpPr>
          <p:grpSpPr>
            <a:xfrm flipH="1">
              <a:off x="9216000" y="1188000"/>
              <a:ext cx="252000" cy="5328000"/>
              <a:chOff x="-576001" y="863020"/>
              <a:chExt cx="504001" cy="5472980"/>
            </a:xfrm>
          </p:grpSpPr>
          <p:cxnSp>
            <p:nvCxnSpPr>
              <p:cNvPr id="32" name="Gerade Verbindung 31"/>
              <p:cNvCxnSpPr/>
              <p:nvPr userDrawn="1"/>
            </p:nvCxnSpPr>
            <p:spPr>
              <a:xfrm>
                <a:off x="-576001" y="863020"/>
                <a:ext cx="504001" cy="0"/>
              </a:xfrm>
              <a:prstGeom prst="line">
                <a:avLst/>
              </a:prstGeom>
              <a:ln w="6350" cap="sq">
                <a:solidFill>
                  <a:srgbClr val="FFFFFF"/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32"/>
              <p:cNvCxnSpPr/>
              <p:nvPr userDrawn="1"/>
            </p:nvCxnSpPr>
            <p:spPr>
              <a:xfrm>
                <a:off x="-576000" y="6336000"/>
                <a:ext cx="504000" cy="0"/>
              </a:xfrm>
              <a:prstGeom prst="line">
                <a:avLst/>
              </a:prstGeom>
              <a:ln w="6350" cap="sq">
                <a:solidFill>
                  <a:srgbClr val="FFFFFF"/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33"/>
              <p:cNvCxnSpPr/>
              <p:nvPr userDrawn="1"/>
            </p:nvCxnSpPr>
            <p:spPr>
              <a:xfrm>
                <a:off x="-576001" y="863020"/>
                <a:ext cx="0" cy="5472980"/>
              </a:xfrm>
              <a:prstGeom prst="line">
                <a:avLst/>
              </a:prstGeom>
              <a:ln w="6350" cap="sq">
                <a:solidFill>
                  <a:srgbClr val="FFFFFF"/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0" name="Gerade Verbindung 29"/>
            <p:cNvCxnSpPr/>
            <p:nvPr userDrawn="1"/>
          </p:nvCxnSpPr>
          <p:spPr>
            <a:xfrm flipH="1">
              <a:off x="9288000" y="1944000"/>
              <a:ext cx="180000" cy="0"/>
            </a:xfrm>
            <a:prstGeom prst="line">
              <a:avLst/>
            </a:prstGeom>
            <a:ln w="6350" cap="sq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>
            <a:xfrm flipH="1">
              <a:off x="9288000" y="2124000"/>
              <a:ext cx="180000" cy="0"/>
            </a:xfrm>
            <a:prstGeom prst="line">
              <a:avLst/>
            </a:prstGeom>
            <a:ln w="6350" cap="sq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431857" y="6550483"/>
            <a:ext cx="11328288" cy="287933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000" baseline="0"/>
            </a:lvl1pPr>
          </a:lstStyle>
          <a:p>
            <a:pPr lvl="0"/>
            <a:r>
              <a:rPr lang="en-US" noProof="0" dirty="0"/>
              <a:t>Text master format and/or text field in the footer area for source references and other comments, in Calibri 10 pt grey (max. 2 lines)</a:t>
            </a:r>
          </a:p>
        </p:txBody>
      </p:sp>
      <p:sp>
        <p:nvSpPr>
          <p:cNvPr id="35" name="Titel 1"/>
          <p:cNvSpPr>
            <a:spLocks noGrp="1"/>
          </p:cNvSpPr>
          <p:nvPr>
            <p:ph type="title" hasCustomPrompt="1"/>
          </p:nvPr>
        </p:nvSpPr>
        <p:spPr>
          <a:xfrm>
            <a:off x="432002" y="1188001"/>
            <a:ext cx="11328000" cy="756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Click to Insert Chart Title, Calibri 20 pt, bold, lime green (max. 2 lines)</a:t>
            </a:r>
            <a:endParaRPr lang="de-DE" noProof="0" dirty="0"/>
          </a:p>
        </p:txBody>
      </p:sp>
      <p:sp>
        <p:nvSpPr>
          <p:cNvPr id="38" name="Untertitel 2"/>
          <p:cNvSpPr>
            <a:spLocks noGrp="1"/>
          </p:cNvSpPr>
          <p:nvPr>
            <p:ph type="subTitle" idx="14" hasCustomPrompt="1"/>
          </p:nvPr>
        </p:nvSpPr>
        <p:spPr>
          <a:xfrm>
            <a:off x="431269" y="1566001"/>
            <a:ext cx="11308822" cy="360000"/>
          </a:xfrm>
        </p:spPr>
        <p:txBody>
          <a:bodyPr wrap="none" lIns="0" tIns="0" rIns="0" bIns="0"/>
          <a:lstStyle>
            <a:lvl1pPr marL="0" indent="0" algn="l">
              <a:lnSpc>
                <a:spcPts val="2663"/>
              </a:lnSpc>
              <a:spcBef>
                <a:spcPts val="0"/>
              </a:spcBef>
              <a:buNone/>
              <a:defRPr sz="2000" baseline="0">
                <a:solidFill>
                  <a:schemeClr val="accent1"/>
                </a:solidFill>
              </a:defRPr>
            </a:lvl1pPr>
            <a:lvl2pPr marL="608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75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6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51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3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26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0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Subtitle master format text (simply delete when not needed)</a:t>
            </a:r>
          </a:p>
        </p:txBody>
      </p:sp>
      <p:sp>
        <p:nvSpPr>
          <p:cNvPr id="39" name="Textfeld 38"/>
          <p:cNvSpPr txBox="1"/>
          <p:nvPr userDrawn="1"/>
        </p:nvSpPr>
        <p:spPr>
          <a:xfrm rot="16200000">
            <a:off x="-935927" y="2501362"/>
            <a:ext cx="1079750" cy="324042"/>
          </a:xfrm>
          <a:prstGeom prst="rect">
            <a:avLst/>
          </a:prstGeom>
          <a:noFill/>
        </p:spPr>
        <p:txBody>
          <a:bodyPr wrap="none" lIns="71983" tIns="71983" rIns="71983" bIns="35992" rtlCol="0" anchor="t" anchorCtr="0">
            <a:noAutofit/>
          </a:bodyPr>
          <a:lstStyle/>
          <a:p>
            <a:pPr algn="r">
              <a:lnSpc>
                <a:spcPct val="85000"/>
              </a:lnSpc>
            </a:pPr>
            <a:r>
              <a:rPr lang="de-DE" sz="900" noProof="0" dirty="0">
                <a:solidFill>
                  <a:srgbClr val="FFFFFF"/>
                </a:solidFill>
              </a:rPr>
              <a:t>CONTENT AREA</a:t>
            </a:r>
          </a:p>
        </p:txBody>
      </p:sp>
      <p:sp>
        <p:nvSpPr>
          <p:cNvPr id="40" name="Textfeld 39"/>
          <p:cNvSpPr txBox="1"/>
          <p:nvPr userDrawn="1"/>
        </p:nvSpPr>
        <p:spPr>
          <a:xfrm rot="16200000">
            <a:off x="-674988" y="1304639"/>
            <a:ext cx="557871" cy="324042"/>
          </a:xfrm>
          <a:prstGeom prst="rect">
            <a:avLst/>
          </a:prstGeom>
          <a:noFill/>
        </p:spPr>
        <p:txBody>
          <a:bodyPr wrap="none" lIns="71983" tIns="71983" rIns="71983" bIns="35992" rtlCol="0" anchor="t" anchorCtr="0">
            <a:noAutofit/>
          </a:bodyPr>
          <a:lstStyle/>
          <a:p>
            <a:pPr algn="r">
              <a:lnSpc>
                <a:spcPct val="85000"/>
              </a:lnSpc>
            </a:pPr>
            <a:r>
              <a:rPr lang="de-DE" sz="900" noProof="0" dirty="0">
                <a:solidFill>
                  <a:srgbClr val="FFFFFF"/>
                </a:solidFill>
              </a:rPr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419801951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01F6BA-BB01-423B-9A26-06133A516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317" y="428734"/>
            <a:ext cx="11541978" cy="45386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05F84B-B700-43A7-B713-CFC32FA646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9316" y="1632378"/>
            <a:ext cx="11541979" cy="4351338"/>
          </a:xfrm>
        </p:spPr>
        <p:txBody>
          <a:bodyPr/>
          <a:lstStyle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E3FE298-CB1C-4C5B-8B4C-98258C7D1B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9317" y="1044574"/>
            <a:ext cx="11541978" cy="381600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ACFECBD-2E7F-47C5-894F-2C6D9C7B2F67}"/>
              </a:ext>
            </a:extLst>
          </p:cNvPr>
          <p:cNvSpPr txBox="1"/>
          <p:nvPr userDrawn="1"/>
        </p:nvSpPr>
        <p:spPr>
          <a:xfrm>
            <a:off x="310355" y="6657976"/>
            <a:ext cx="236219" cy="1666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1pPr>
            <a:lvl2pPr marL="238125" indent="-22383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lvl2pPr>
            <a:lvl3pPr marL="414338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3pPr>
            <a:lvl4pPr marL="566738" indent="-152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4pPr>
            <a:lvl5pPr marL="714375" indent="-1381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fld id="{1937EBA7-6943-4C94-B5FE-2B37DB52AF80}" type="slidenum">
              <a:rPr lang="en-GB" smtClean="0">
                <a:solidFill>
                  <a:srgbClr val="808080"/>
                </a:solidFill>
              </a:rPr>
              <a:t>‹#›</a:t>
            </a:fld>
            <a:endParaRPr lang="en-GB" dirty="0">
              <a:solidFill>
                <a:srgbClr val="808080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CF12EDC-1B50-453C-BFBD-D5B601DD8F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4963" y="6144768"/>
            <a:ext cx="10448860" cy="445008"/>
          </a:xfrm>
        </p:spPr>
        <p:txBody>
          <a:bodyPr anchor="b"/>
          <a:lstStyle>
            <a:lvl1pPr>
              <a:spcAft>
                <a:spcPts val="300"/>
              </a:spcAft>
              <a:defRPr sz="9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9D7BBCF1-BC9C-4393-B676-63F680026A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65343" y="6657976"/>
            <a:ext cx="2160000" cy="166687"/>
          </a:xfrm>
        </p:spPr>
        <p:txBody>
          <a:bodyPr/>
          <a:lstStyle>
            <a:lvl1pPr marL="0" indent="0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Division/department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88E72ADA-2624-47BB-ADAD-F8C7853DB0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453" y="6657977"/>
            <a:ext cx="1278972" cy="166686"/>
          </a:xfrm>
        </p:spPr>
        <p:txBody>
          <a:bodyPr/>
          <a:lstStyle>
            <a:lvl1pPr marL="0" indent="0">
              <a:buNone/>
              <a:defRPr sz="900">
                <a:solidFill>
                  <a:srgbClr val="808080"/>
                </a:solidFill>
              </a:defRPr>
            </a:lvl1pPr>
          </a:lstStyle>
          <a:p>
            <a:pPr lvl="0"/>
            <a:r>
              <a:rPr lang="en-GB" dirty="0"/>
              <a:t>Internal/external use only 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266BF116-E6B0-02AB-D482-D85C567C5DED}"/>
              </a:ext>
            </a:extLst>
          </p:cNvPr>
          <p:cNvSpPr txBox="1">
            <a:spLocks/>
          </p:cNvSpPr>
          <p:nvPr userDrawn="1"/>
        </p:nvSpPr>
        <p:spPr>
          <a:xfrm>
            <a:off x="10133871" y="6675819"/>
            <a:ext cx="1879020" cy="15001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38125" indent="-2238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4338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6738" indent="-152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381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>
              <a:spcAft>
                <a:spcPts val="450"/>
              </a:spcAft>
              <a:buClr>
                <a:srgbClr val="0088CE"/>
              </a:buClr>
              <a:defRPr/>
            </a:pPr>
            <a:r>
              <a:rPr lang="en-GB" sz="675" dirty="0">
                <a:solidFill>
                  <a:prstClr val="black">
                    <a:lumMod val="50000"/>
                    <a:lumOff val="50000"/>
                  </a:prstClr>
                </a:solidFill>
                <a:latin typeface="Arial" panose="020B0604020202020204"/>
              </a:rPr>
              <a:t>CONFIDENTIAL –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45736388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4996314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ection Header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6C2555-777C-4319-86AA-BD05EFD634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52304" y="1201699"/>
            <a:ext cx="9094245" cy="2227297"/>
          </a:xfrm>
          <a:prstGeom prst="rect">
            <a:avLst/>
          </a:prstGeom>
        </p:spPr>
        <p:txBody>
          <a:bodyPr anchor="b">
            <a:noAutofit/>
          </a:bodyPr>
          <a:lstStyle>
            <a:lvl1pPr algn="ctr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4746229-EB1C-42A1-A3FB-AD583A7FC3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52305" y="3613151"/>
            <a:ext cx="9094241" cy="1655762"/>
          </a:xfrm>
        </p:spPr>
        <p:txBody>
          <a:bodyPr>
            <a:noAutofit/>
          </a:bodyPr>
          <a:lstStyle>
            <a:lvl1pPr marL="0" indent="0" algn="ctr">
              <a:buNone/>
              <a:defRPr sz="15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99AB775-B3BE-4D00-8162-E5AB41617E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2733" y="6143799"/>
            <a:ext cx="975235" cy="452314"/>
          </a:xfrm>
          <a:prstGeom prst="rect">
            <a:avLst/>
          </a:prstGeom>
        </p:spPr>
      </p:pic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80D7B458-91F1-4A02-B719-6CA28847D6B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82959" y="6657978"/>
            <a:ext cx="1075533" cy="166687"/>
          </a:xfrm>
        </p:spPr>
        <p:txBody>
          <a:bodyPr/>
          <a:lstStyle>
            <a:lvl1pPr marL="0" indent="0">
              <a:buNone/>
              <a:defRPr sz="675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Division/department</a:t>
            </a:r>
          </a:p>
        </p:txBody>
      </p:sp>
      <p:sp>
        <p:nvSpPr>
          <p:cNvPr id="29" name="Text Placeholder 16">
            <a:extLst>
              <a:ext uri="{FF2B5EF4-FFF2-40B4-BE49-F238E27FC236}">
                <a16:creationId xmlns:a16="http://schemas.microsoft.com/office/drawing/2014/main" id="{B23F209C-F5C3-49B3-9123-02308BC4F2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65679" y="6657978"/>
            <a:ext cx="1949196" cy="166687"/>
          </a:xfrm>
        </p:spPr>
        <p:txBody>
          <a:bodyPr/>
          <a:lstStyle>
            <a:lvl1pPr marL="0" indent="0">
              <a:buNone/>
              <a:defRPr sz="675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A83DF0C-C9C1-4A2B-8B86-1B015888935C}"/>
              </a:ext>
            </a:extLst>
          </p:cNvPr>
          <p:cNvSpPr txBox="1"/>
          <p:nvPr userDrawn="1"/>
        </p:nvSpPr>
        <p:spPr>
          <a:xfrm>
            <a:off x="310356" y="6657978"/>
            <a:ext cx="236219" cy="1666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1pPr>
            <a:lvl2pPr marL="238125" indent="-22383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lvl2pPr>
            <a:lvl3pPr marL="414338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3pPr>
            <a:lvl4pPr marL="566738" indent="-152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4pPr>
            <a:lvl5pPr marL="714375" indent="-1381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fld id="{1937EBA7-6943-4C94-B5FE-2B37DB52AF80}" type="slidenum">
              <a:rPr lang="en-GB" sz="675" smtClean="0">
                <a:solidFill>
                  <a:schemeClr val="bg1"/>
                </a:solidFill>
              </a:rPr>
              <a:t>‹#›</a:t>
            </a:fld>
            <a:endParaRPr lang="en-GB" sz="675" dirty="0">
              <a:solidFill>
                <a:schemeClr val="bg1"/>
              </a:solidFill>
            </a:endParaRP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FC28D8E1-0D7E-4D7F-8D8E-E3B27E2C8C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6454" y="6657978"/>
            <a:ext cx="878300" cy="166687"/>
          </a:xfrm>
        </p:spPr>
        <p:txBody>
          <a:bodyPr/>
          <a:lstStyle>
            <a:lvl1pPr marL="0" indent="0">
              <a:buNone/>
              <a:defRPr sz="675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ternal use only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3C19499-799D-48EE-A1B3-27093ED71E1E}"/>
              </a:ext>
            </a:extLst>
          </p:cNvPr>
          <p:cNvGrpSpPr/>
          <p:nvPr userDrawn="1"/>
        </p:nvGrpSpPr>
        <p:grpSpPr>
          <a:xfrm rot="5400000">
            <a:off x="9562847" y="933831"/>
            <a:ext cx="1389888" cy="1389888"/>
            <a:chOff x="8003794" y="274079"/>
            <a:chExt cx="1389888" cy="1389888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9E503EC0-13A7-4342-B4BB-50118AAD5DA8}"/>
                </a:ext>
              </a:extLst>
            </p:cNvPr>
            <p:cNvCxnSpPr/>
            <p:nvPr userDrawn="1"/>
          </p:nvCxnSpPr>
          <p:spPr>
            <a:xfrm flipH="1">
              <a:off x="8003794" y="274079"/>
              <a:ext cx="1389888" cy="0"/>
            </a:xfrm>
            <a:prstGeom prst="line">
              <a:avLst/>
            </a:prstGeom>
            <a:ln w="22225" cap="sq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CC75B4F-8345-4497-A1B3-28908464E853}"/>
                </a:ext>
              </a:extLst>
            </p:cNvPr>
            <p:cNvCxnSpPr>
              <a:cxnSpLocks/>
            </p:cNvCxnSpPr>
            <p:nvPr userDrawn="1"/>
          </p:nvCxnSpPr>
          <p:spPr>
            <a:xfrm rot="5400000" flipH="1">
              <a:off x="7308850" y="969023"/>
              <a:ext cx="1389888" cy="0"/>
            </a:xfrm>
            <a:prstGeom prst="line">
              <a:avLst/>
            </a:prstGeom>
            <a:ln w="22225" cap="sq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C480BE8-5385-427A-A1A4-5AAFC2DD1402}"/>
              </a:ext>
            </a:extLst>
          </p:cNvPr>
          <p:cNvGrpSpPr/>
          <p:nvPr userDrawn="1"/>
        </p:nvGrpSpPr>
        <p:grpSpPr>
          <a:xfrm rot="16200000" flipH="1">
            <a:off x="1268604" y="933831"/>
            <a:ext cx="1389888" cy="1389888"/>
            <a:chOff x="8003794" y="274079"/>
            <a:chExt cx="1389888" cy="1389888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BE377FED-FCAD-4BB1-B08D-AD653774EBE2}"/>
                </a:ext>
              </a:extLst>
            </p:cNvPr>
            <p:cNvCxnSpPr/>
            <p:nvPr userDrawn="1"/>
          </p:nvCxnSpPr>
          <p:spPr>
            <a:xfrm flipH="1">
              <a:off x="8003794" y="274079"/>
              <a:ext cx="1389888" cy="0"/>
            </a:xfrm>
            <a:prstGeom prst="line">
              <a:avLst/>
            </a:prstGeom>
            <a:ln w="22225" cap="sq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D00C04E0-C725-4636-A467-97D139C5E867}"/>
                </a:ext>
              </a:extLst>
            </p:cNvPr>
            <p:cNvCxnSpPr>
              <a:cxnSpLocks/>
            </p:cNvCxnSpPr>
            <p:nvPr userDrawn="1"/>
          </p:nvCxnSpPr>
          <p:spPr>
            <a:xfrm rot="5400000" flipH="1">
              <a:off x="7308850" y="969023"/>
              <a:ext cx="1389888" cy="0"/>
            </a:xfrm>
            <a:prstGeom prst="line">
              <a:avLst/>
            </a:prstGeom>
            <a:ln w="22225" cap="sq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3CA2DBC-F116-4DE2-ACB9-6448E06ABD98}"/>
              </a:ext>
            </a:extLst>
          </p:cNvPr>
          <p:cNvGrpSpPr/>
          <p:nvPr userDrawn="1"/>
        </p:nvGrpSpPr>
        <p:grpSpPr>
          <a:xfrm rot="16200000" flipV="1">
            <a:off x="9562847" y="4058968"/>
            <a:ext cx="1389888" cy="1389888"/>
            <a:chOff x="8003794" y="274079"/>
            <a:chExt cx="1389888" cy="1389888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8B0077EF-C4F9-4017-B5E1-8458EAA061B5}"/>
                </a:ext>
              </a:extLst>
            </p:cNvPr>
            <p:cNvCxnSpPr/>
            <p:nvPr userDrawn="1"/>
          </p:nvCxnSpPr>
          <p:spPr>
            <a:xfrm flipH="1">
              <a:off x="8003794" y="274079"/>
              <a:ext cx="1389888" cy="0"/>
            </a:xfrm>
            <a:prstGeom prst="line">
              <a:avLst/>
            </a:prstGeom>
            <a:ln w="22225" cap="sq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1B5A1FE3-42F0-46C5-8255-371EF03A8D29}"/>
                </a:ext>
              </a:extLst>
            </p:cNvPr>
            <p:cNvCxnSpPr>
              <a:cxnSpLocks/>
            </p:cNvCxnSpPr>
            <p:nvPr userDrawn="1"/>
          </p:nvCxnSpPr>
          <p:spPr>
            <a:xfrm rot="5400000" flipH="1">
              <a:off x="7308850" y="969023"/>
              <a:ext cx="1389888" cy="0"/>
            </a:xfrm>
            <a:prstGeom prst="line">
              <a:avLst/>
            </a:prstGeom>
            <a:ln w="22225" cap="sq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0748EEB-BAD6-41A8-B1A9-3F3B25ED7E08}"/>
              </a:ext>
            </a:extLst>
          </p:cNvPr>
          <p:cNvGrpSpPr/>
          <p:nvPr userDrawn="1"/>
        </p:nvGrpSpPr>
        <p:grpSpPr>
          <a:xfrm rot="5400000" flipH="1" flipV="1">
            <a:off x="1268604" y="4058967"/>
            <a:ext cx="1389888" cy="1389888"/>
            <a:chOff x="8003794" y="274079"/>
            <a:chExt cx="1389888" cy="1389888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D24C73A6-9D25-476E-888B-173072A8316E}"/>
                </a:ext>
              </a:extLst>
            </p:cNvPr>
            <p:cNvCxnSpPr/>
            <p:nvPr userDrawn="1"/>
          </p:nvCxnSpPr>
          <p:spPr>
            <a:xfrm flipH="1">
              <a:off x="8003794" y="274079"/>
              <a:ext cx="1389888" cy="0"/>
            </a:xfrm>
            <a:prstGeom prst="line">
              <a:avLst/>
            </a:prstGeom>
            <a:ln w="22225" cap="sq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5F59483E-EC6A-401F-A323-354DCBEBCE48}"/>
                </a:ext>
              </a:extLst>
            </p:cNvPr>
            <p:cNvCxnSpPr>
              <a:cxnSpLocks/>
            </p:cNvCxnSpPr>
            <p:nvPr userDrawn="1"/>
          </p:nvCxnSpPr>
          <p:spPr>
            <a:xfrm rot="5400000" flipH="1">
              <a:off x="7308850" y="969023"/>
              <a:ext cx="1389888" cy="0"/>
            </a:xfrm>
            <a:prstGeom prst="line">
              <a:avLst/>
            </a:prstGeom>
            <a:ln w="22225" cap="sq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367191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4045" y="238546"/>
            <a:ext cx="11543103" cy="616455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3200" b="0"/>
            </a:lvl1pPr>
          </a:lstStyle>
          <a:p>
            <a:endParaRPr lang="en-US" noProof="0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24043" y="854994"/>
            <a:ext cx="11543103" cy="336244"/>
          </a:xfrm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sz="2000" b="0">
                <a:solidFill>
                  <a:srgbClr val="AFAFAF"/>
                </a:solidFill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83397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12739-F681-45B7-B1BD-64846125F626}" type="datetimeFigureOut">
              <a:rPr lang="en-GB" smtClean="0"/>
              <a:t>19/05/2023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C95CCA-56E0-4280-9F24-84D40032D07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2072708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12739-F681-45B7-B1BD-64846125F626}" type="datetimeFigureOut">
              <a:rPr lang="en-GB" smtClean="0"/>
              <a:t>19/05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C95CCA-56E0-4280-9F24-84D40032D07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2949820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12739-F681-45B7-B1BD-64846125F626}" type="datetimeFigureOut">
              <a:rPr lang="en-GB" smtClean="0"/>
              <a:t>19/05/202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C95CCA-56E0-4280-9F24-84D40032D07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8210489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12739-F681-45B7-B1BD-64846125F626}" type="datetimeFigureOut">
              <a:rPr lang="en-GB" smtClean="0"/>
              <a:t>19/05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C95CCA-56E0-4280-9F24-84D40032D07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0079430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12739-F681-45B7-B1BD-64846125F626}" type="datetimeFigureOut">
              <a:rPr lang="en-GB" smtClean="0"/>
              <a:t>19/05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C95CCA-56E0-4280-9F24-84D40032D07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1592336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712739-F681-45B7-B1BD-64846125F626}" type="datetimeFigureOut">
              <a:rPr lang="en-GB" smtClean="0"/>
              <a:t>19/05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C95CCA-56E0-4280-9F24-84D40032D07F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ACA4160-0E4C-CD17-0765-01EFC09F9485}"/>
              </a:ext>
            </a:extLst>
          </p:cNvPr>
          <p:cNvPicPr>
            <a:picLocks noChangeAspect="1"/>
          </p:cNvPicPr>
          <p:nvPr userDrawn="1"/>
        </p:nvPicPr>
        <p:blipFill>
          <a:blip r:embed="rId5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96061" y="6145200"/>
            <a:ext cx="975234" cy="452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03444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  <p:sldLayoutId id="2147483755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7" r:id="rId18"/>
    <p:sldLayoutId id="2147483668" r:id="rId19"/>
    <p:sldLayoutId id="2147483669" r:id="rId20"/>
    <p:sldLayoutId id="2147483670" r:id="rId21"/>
    <p:sldLayoutId id="2147483671" r:id="rId22"/>
    <p:sldLayoutId id="2147483673" r:id="rId23"/>
    <p:sldLayoutId id="2147483674" r:id="rId24"/>
    <p:sldLayoutId id="2147483675" r:id="rId25"/>
    <p:sldLayoutId id="2147483676" r:id="rId26"/>
    <p:sldLayoutId id="2147483678" r:id="rId27"/>
    <p:sldLayoutId id="2147483679" r:id="rId28"/>
    <p:sldLayoutId id="2147483680" r:id="rId29"/>
    <p:sldLayoutId id="2147483681" r:id="rId30"/>
    <p:sldLayoutId id="2147483682" r:id="rId31"/>
    <p:sldLayoutId id="2147483683" r:id="rId32"/>
    <p:sldLayoutId id="2147483684" r:id="rId33"/>
    <p:sldLayoutId id="2147483685" r:id="rId34"/>
    <p:sldLayoutId id="2147483686" r:id="rId35"/>
    <p:sldLayoutId id="2147483687" r:id="rId36"/>
    <p:sldLayoutId id="2147483688" r:id="rId37"/>
    <p:sldLayoutId id="2147483689" r:id="rId38"/>
    <p:sldLayoutId id="2147483690" r:id="rId39"/>
    <p:sldLayoutId id="2147483691" r:id="rId40"/>
    <p:sldLayoutId id="2147483692" r:id="rId41"/>
    <p:sldLayoutId id="2147483693" r:id="rId42"/>
    <p:sldLayoutId id="2147483694" r:id="rId43"/>
    <p:sldLayoutId id="2147483695" r:id="rId44"/>
    <p:sldLayoutId id="2147483697" r:id="rId45"/>
    <p:sldLayoutId id="2147483699" r:id="rId46"/>
    <p:sldLayoutId id="2147483700" r:id="rId47"/>
    <p:sldLayoutId id="2147483701" r:id="rId48"/>
    <p:sldLayoutId id="2147483703" r:id="rId4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682D3F-D0D9-4F0C-8E61-5D6E56344C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sz="3600" b="1" dirty="0">
                <a:solidFill>
                  <a:srgbClr val="0070C0"/>
                </a:solidFill>
              </a:rPr>
              <a:t>Only 70% of families seek advice for bedwetting from the family physician</a:t>
            </a:r>
            <a:endParaRPr lang="en-CA" sz="3600" b="1" dirty="0">
              <a:solidFill>
                <a:srgbClr val="0070C0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897C3A-971B-4198-9176-645E7A5B9588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49288" y="6230697"/>
            <a:ext cx="10448925" cy="4445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CA" sz="1400" dirty="0"/>
              <a:t>SOURCE:  Bladder &amp; Bowel UK Patient bedwetting Survey May 2022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30CD2A-9C69-4953-A734-92714492C047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49288" y="1690688"/>
            <a:ext cx="11542712" cy="382587"/>
          </a:xfrm>
        </p:spPr>
        <p:txBody>
          <a:bodyPr>
            <a:normAutofit fontScale="85000" lnSpcReduction="20000"/>
          </a:bodyPr>
          <a:lstStyle/>
          <a:p>
            <a:r>
              <a:rPr lang="en-CA" dirty="0"/>
              <a:t>Patient impact survey (n=1045 parents of 5-18 year olds)</a:t>
            </a:r>
          </a:p>
        </p:txBody>
      </p:sp>
      <p:graphicFrame>
        <p:nvGraphicFramePr>
          <p:cNvPr id="16" name="Tabla 54">
            <a:extLst>
              <a:ext uri="{FF2B5EF4-FFF2-40B4-BE49-F238E27FC236}">
                <a16:creationId xmlns:a16="http://schemas.microsoft.com/office/drawing/2014/main" id="{3DAE9B9F-EE15-43E7-87DF-0FBFAC121C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489511"/>
              </p:ext>
            </p:extLst>
          </p:nvPr>
        </p:nvGraphicFramePr>
        <p:xfrm>
          <a:off x="3038771" y="2150196"/>
          <a:ext cx="6456071" cy="4074151"/>
        </p:xfrm>
        <a:graphic>
          <a:graphicData uri="http://schemas.openxmlformats.org/drawingml/2006/table">
            <a:tbl>
              <a:tblPr firstRow="1" bandRow="1">
                <a:tableStyleId>{16D9F66E-5EB9-4882-86FB-DCBF35E3C3E4}</a:tableStyleId>
              </a:tblPr>
              <a:tblGrid>
                <a:gridCol w="3833013">
                  <a:extLst>
                    <a:ext uri="{9D8B030D-6E8A-4147-A177-3AD203B41FA5}">
                      <a16:colId xmlns:a16="http://schemas.microsoft.com/office/drawing/2014/main" val="824647380"/>
                    </a:ext>
                  </a:extLst>
                </a:gridCol>
                <a:gridCol w="2623058">
                  <a:extLst>
                    <a:ext uri="{9D8B030D-6E8A-4147-A177-3AD203B41FA5}">
                      <a16:colId xmlns:a16="http://schemas.microsoft.com/office/drawing/2014/main" val="2602980325"/>
                    </a:ext>
                  </a:extLst>
                </a:gridCol>
              </a:tblGrid>
              <a:tr h="498351">
                <a:tc>
                  <a:txBody>
                    <a:bodyPr/>
                    <a:lstStyle/>
                    <a:p>
                      <a:pPr algn="r" fontAlgn="b"/>
                      <a:r>
                        <a:rPr lang="en-CA" sz="1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rents experienced bedwetting once a month or more</a:t>
                      </a:r>
                      <a:endParaRPr lang="en-GB" sz="1800" b="0" i="0" u="none" strike="noStrike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49" marR="6349" marT="63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3300" b="0" dirty="0">
                          <a:solidFill>
                            <a:srgbClr val="0070C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5.9% </a:t>
                      </a:r>
                      <a:endParaRPr kumimoji="0" lang="en-GB" sz="33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523" marR="9523" marT="9523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7599959"/>
                  </a:ext>
                </a:extLst>
              </a:tr>
              <a:tr h="498351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CA" sz="1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rents find bedwetting most common during school term vs 15.2% during sleepovers</a:t>
                      </a:r>
                      <a:endParaRPr lang="en-GB" sz="18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349" marR="6349" marT="63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3300" b="0" dirty="0">
                          <a:solidFill>
                            <a:srgbClr val="0070C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.5% </a:t>
                      </a:r>
                      <a:endParaRPr kumimoji="0" lang="en-GB" sz="33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523" marR="9523" marT="9523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1803445"/>
                  </a:ext>
                </a:extLst>
              </a:tr>
              <a:tr h="498351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CA" sz="1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hildren missed out on overnight trips because of bedwetting</a:t>
                      </a:r>
                      <a:endParaRPr lang="en-GB" sz="18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349" marR="6349" marT="63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3300" b="0" dirty="0">
                          <a:solidFill>
                            <a:srgbClr val="0070C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% </a:t>
                      </a:r>
                      <a:endParaRPr kumimoji="0" lang="en-GB" sz="33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523" marR="9523" marT="9523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133795"/>
                  </a:ext>
                </a:extLst>
              </a:tr>
              <a:tr h="498351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CA" sz="1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rents think bedwetting is caused by stress of life changes</a:t>
                      </a:r>
                      <a:endParaRPr lang="en-GB" sz="18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349" marR="6349" marT="63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3300" b="0" dirty="0">
                          <a:solidFill>
                            <a:srgbClr val="0070C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5.5%</a:t>
                      </a:r>
                      <a:endParaRPr kumimoji="0" lang="en-GB" sz="33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523" marR="9523" marT="9523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2489590"/>
                  </a:ext>
                </a:extLst>
              </a:tr>
              <a:tr h="498351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CA" sz="18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rents believe their child is comfortable telling them if they wet the bed</a:t>
                      </a:r>
                      <a:endParaRPr lang="en-GB" sz="18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349" marR="6349" marT="63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3300" b="0" dirty="0">
                          <a:solidFill>
                            <a:srgbClr val="0070C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5.5%</a:t>
                      </a:r>
                      <a:endParaRPr kumimoji="0" lang="en-GB" sz="33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523" marR="9523" marT="9523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087383"/>
                  </a:ext>
                </a:extLst>
              </a:tr>
              <a:tr h="498351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CA" sz="18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dwetting advice via family physician </a:t>
                      </a:r>
                      <a:endParaRPr lang="en-GB" sz="18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349" marR="6349" marT="63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3300" b="1" dirty="0">
                          <a:solidFill>
                            <a:srgbClr val="0070C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9.9% </a:t>
                      </a:r>
                      <a:endParaRPr kumimoji="0" lang="en-GB" sz="33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523" marR="9523" marT="9523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1746448"/>
                  </a:ext>
                </a:extLst>
              </a:tr>
              <a:tr h="498351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GB" sz="18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eek bedwetting advice online</a:t>
                      </a:r>
                    </a:p>
                  </a:txBody>
                  <a:tcPr marL="6349" marR="6349" marT="63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GB" sz="33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30.7%</a:t>
                      </a:r>
                    </a:p>
                  </a:txBody>
                  <a:tcPr marL="9523" marR="9523" marT="9523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52823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14696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magen 18">
            <a:extLst>
              <a:ext uri="{FF2B5EF4-FFF2-40B4-BE49-F238E27FC236}">
                <a16:creationId xmlns:a16="http://schemas.microsoft.com/office/drawing/2014/main" id="{ED0104CB-D63A-44FC-B9CA-91CDEB7DE50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855982">
            <a:off x="3555997" y="2608049"/>
            <a:ext cx="2700603" cy="869686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AC77BDF0-983A-4B11-9C6E-1E72B5D92917}"/>
              </a:ext>
            </a:extLst>
          </p:cNvPr>
          <p:cNvSpPr txBox="1"/>
          <p:nvPr/>
        </p:nvSpPr>
        <p:spPr>
          <a:xfrm>
            <a:off x="5372352" y="1690688"/>
            <a:ext cx="41661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53B5C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EALTHCARE PROFESSIONALS</a:t>
            </a:r>
            <a:r>
              <a:rPr kumimoji="0" lang="en-GB" sz="1800" b="1" i="0" u="none" strike="noStrike" kern="1200" cap="none" spc="0" normalizeH="0" baseline="30000" noProof="0" dirty="0">
                <a:ln>
                  <a:noFill/>
                </a:ln>
                <a:solidFill>
                  <a:srgbClr val="053B5C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3861B90C-2B78-46CB-AE09-DA4BA9944824}"/>
              </a:ext>
            </a:extLst>
          </p:cNvPr>
          <p:cNvSpPr txBox="1"/>
          <p:nvPr/>
        </p:nvSpPr>
        <p:spPr>
          <a:xfrm>
            <a:off x="226974" y="1685001"/>
            <a:ext cx="17206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53B5C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ARENTS</a:t>
            </a:r>
            <a:r>
              <a:rPr kumimoji="0" lang="en-GB" sz="1800" b="1" i="0" u="none" strike="noStrike" kern="1200" cap="none" spc="0" normalizeH="0" baseline="30000" noProof="0" dirty="0">
                <a:ln>
                  <a:noFill/>
                </a:ln>
                <a:solidFill>
                  <a:srgbClr val="053B5C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23441CCD-24C7-457B-9B70-FFDC1FE77944}"/>
              </a:ext>
            </a:extLst>
          </p:cNvPr>
          <p:cNvCxnSpPr>
            <a:cxnSpLocks/>
          </p:cNvCxnSpPr>
          <p:nvPr/>
        </p:nvCxnSpPr>
        <p:spPr>
          <a:xfrm>
            <a:off x="5472730" y="1557586"/>
            <a:ext cx="8754" cy="4951620"/>
          </a:xfrm>
          <a:prstGeom prst="line">
            <a:avLst/>
          </a:prstGeom>
          <a:ln w="28575">
            <a:solidFill>
              <a:srgbClr val="053B5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Google Shape;2230;p74">
            <a:extLst>
              <a:ext uri="{FF2B5EF4-FFF2-40B4-BE49-F238E27FC236}">
                <a16:creationId xmlns:a16="http://schemas.microsoft.com/office/drawing/2014/main" id="{DCF8B08F-A21E-4856-88D1-C26C12FD1FEF}"/>
              </a:ext>
            </a:extLst>
          </p:cNvPr>
          <p:cNvSpPr/>
          <p:nvPr/>
        </p:nvSpPr>
        <p:spPr>
          <a:xfrm>
            <a:off x="350441" y="2175023"/>
            <a:ext cx="644538" cy="614976"/>
          </a:xfrm>
          <a:custGeom>
            <a:avLst/>
            <a:gdLst/>
            <a:ahLst/>
            <a:cxnLst/>
            <a:rect l="l" t="t" r="r" b="b"/>
            <a:pathLst>
              <a:path w="2631" h="4289" extrusionOk="0">
                <a:moveTo>
                  <a:pt x="450" y="0"/>
                </a:moveTo>
                <a:cubicBezTo>
                  <a:pt x="357" y="0"/>
                  <a:pt x="264" y="35"/>
                  <a:pt x="193" y="106"/>
                </a:cubicBezTo>
                <a:lnTo>
                  <a:pt x="1" y="298"/>
                </a:lnTo>
                <a:lnTo>
                  <a:pt x="1591" y="1886"/>
                </a:lnTo>
                <a:cubicBezTo>
                  <a:pt x="1732" y="2029"/>
                  <a:pt x="1732" y="2258"/>
                  <a:pt x="1591" y="2401"/>
                </a:cubicBezTo>
                <a:lnTo>
                  <a:pt x="1" y="3991"/>
                </a:lnTo>
                <a:lnTo>
                  <a:pt x="193" y="4183"/>
                </a:lnTo>
                <a:cubicBezTo>
                  <a:pt x="264" y="4253"/>
                  <a:pt x="357" y="4288"/>
                  <a:pt x="450" y="4288"/>
                </a:cubicBezTo>
                <a:cubicBezTo>
                  <a:pt x="543" y="4288"/>
                  <a:pt x="636" y="4253"/>
                  <a:pt x="707" y="4183"/>
                </a:cubicBezTo>
                <a:lnTo>
                  <a:pt x="2488" y="2401"/>
                </a:lnTo>
                <a:cubicBezTo>
                  <a:pt x="2630" y="2260"/>
                  <a:pt x="2630" y="2029"/>
                  <a:pt x="2488" y="1888"/>
                </a:cubicBezTo>
                <a:lnTo>
                  <a:pt x="707" y="106"/>
                </a:lnTo>
                <a:cubicBezTo>
                  <a:pt x="636" y="35"/>
                  <a:pt x="543" y="0"/>
                  <a:pt x="450" y="0"/>
                </a:cubicBezTo>
                <a:close/>
              </a:path>
            </a:pathLst>
          </a:custGeom>
          <a:solidFill>
            <a:srgbClr val="90CBF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" name="Google Shape;2231;p74">
            <a:extLst>
              <a:ext uri="{FF2B5EF4-FFF2-40B4-BE49-F238E27FC236}">
                <a16:creationId xmlns:a16="http://schemas.microsoft.com/office/drawing/2014/main" id="{9E0C7977-7C37-43DD-BC41-FC4F46215D4C}"/>
              </a:ext>
            </a:extLst>
          </p:cNvPr>
          <p:cNvSpPr/>
          <p:nvPr/>
        </p:nvSpPr>
        <p:spPr>
          <a:xfrm>
            <a:off x="449092" y="2379182"/>
            <a:ext cx="253259" cy="195156"/>
          </a:xfrm>
          <a:custGeom>
            <a:avLst/>
            <a:gdLst/>
            <a:ahLst/>
            <a:cxnLst/>
            <a:rect l="l" t="t" r="r" b="b"/>
            <a:pathLst>
              <a:path w="801" h="1387" extrusionOk="0">
                <a:moveTo>
                  <a:pt x="176" y="0"/>
                </a:moveTo>
                <a:cubicBezTo>
                  <a:pt x="87" y="0"/>
                  <a:pt x="1" y="69"/>
                  <a:pt x="1" y="173"/>
                </a:cubicBezTo>
                <a:lnTo>
                  <a:pt x="1" y="1214"/>
                </a:lnTo>
                <a:cubicBezTo>
                  <a:pt x="1" y="1318"/>
                  <a:pt x="87" y="1386"/>
                  <a:pt x="176" y="1386"/>
                </a:cubicBezTo>
                <a:cubicBezTo>
                  <a:pt x="218" y="1386"/>
                  <a:pt x="262" y="1371"/>
                  <a:pt x="297" y="1335"/>
                </a:cubicBezTo>
                <a:lnTo>
                  <a:pt x="627" y="1006"/>
                </a:lnTo>
                <a:cubicBezTo>
                  <a:pt x="800" y="834"/>
                  <a:pt x="800" y="554"/>
                  <a:pt x="627" y="381"/>
                </a:cubicBezTo>
                <a:lnTo>
                  <a:pt x="297" y="51"/>
                </a:lnTo>
                <a:cubicBezTo>
                  <a:pt x="262" y="16"/>
                  <a:pt x="218" y="0"/>
                  <a:pt x="176" y="0"/>
                </a:cubicBezTo>
                <a:close/>
              </a:path>
            </a:pathLst>
          </a:custGeom>
          <a:solidFill>
            <a:srgbClr val="10395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6" name="Google Shape;2232;p74">
            <a:extLst>
              <a:ext uri="{FF2B5EF4-FFF2-40B4-BE49-F238E27FC236}">
                <a16:creationId xmlns:a16="http://schemas.microsoft.com/office/drawing/2014/main" id="{ADF5C815-364D-459B-B62D-88BA6F070286}"/>
              </a:ext>
            </a:extLst>
          </p:cNvPr>
          <p:cNvSpPr/>
          <p:nvPr/>
        </p:nvSpPr>
        <p:spPr>
          <a:xfrm>
            <a:off x="538976" y="2134086"/>
            <a:ext cx="4235027" cy="695189"/>
          </a:xfrm>
          <a:custGeom>
            <a:avLst/>
            <a:gdLst/>
            <a:ahLst/>
            <a:cxnLst/>
            <a:rect l="l" t="t" r="r" b="b"/>
            <a:pathLst>
              <a:path w="13250" h="3499" extrusionOk="0">
                <a:moveTo>
                  <a:pt x="1" y="0"/>
                </a:moveTo>
                <a:lnTo>
                  <a:pt x="1495" y="1494"/>
                </a:lnTo>
                <a:cubicBezTo>
                  <a:pt x="1635" y="1635"/>
                  <a:pt x="1635" y="1866"/>
                  <a:pt x="1495" y="2007"/>
                </a:cubicBezTo>
                <a:lnTo>
                  <a:pt x="2" y="3499"/>
                </a:lnTo>
                <a:lnTo>
                  <a:pt x="11527" y="3499"/>
                </a:lnTo>
                <a:lnTo>
                  <a:pt x="13250" y="1750"/>
                </a:lnTo>
                <a:lnTo>
                  <a:pt x="11527" y="0"/>
                </a:ln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218CEABF-F5A8-4D7E-BB84-2F08AC549BE2}"/>
              </a:ext>
            </a:extLst>
          </p:cNvPr>
          <p:cNvSpPr txBox="1"/>
          <p:nvPr/>
        </p:nvSpPr>
        <p:spPr>
          <a:xfrm>
            <a:off x="1030431" y="2144369"/>
            <a:ext cx="344224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400" i="1">
                <a:solidFill>
                  <a:srgbClr val="103959"/>
                </a:solidFill>
                <a:latin typeface="Calibri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1" u="none" strike="noStrike" kern="1200" cap="none" spc="0" normalizeH="0" baseline="0" noProof="0" dirty="0">
                <a:ln>
                  <a:noFill/>
                </a:ln>
                <a:solidFill>
                  <a:srgbClr val="103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at instructions did the paediatrician give you when diagnosing your child with bedwetting? </a:t>
            </a:r>
          </a:p>
        </p:txBody>
      </p:sp>
      <p:graphicFrame>
        <p:nvGraphicFramePr>
          <p:cNvPr id="55" name="Tabla 54">
            <a:extLst>
              <a:ext uri="{FF2B5EF4-FFF2-40B4-BE49-F238E27FC236}">
                <a16:creationId xmlns:a16="http://schemas.microsoft.com/office/drawing/2014/main" id="{F24FDA17-F20A-4A81-B64F-15EDDB7C4995}"/>
              </a:ext>
            </a:extLst>
          </p:cNvPr>
          <p:cNvGraphicFramePr>
            <a:graphicFrameLocks noGrp="1"/>
          </p:cNvGraphicFramePr>
          <p:nvPr/>
        </p:nvGraphicFramePr>
        <p:xfrm>
          <a:off x="702351" y="2967134"/>
          <a:ext cx="5333841" cy="2990106"/>
        </p:xfrm>
        <a:graphic>
          <a:graphicData uri="http://schemas.openxmlformats.org/drawingml/2006/table">
            <a:tbl>
              <a:tblPr firstRow="1" bandRow="1">
                <a:tableStyleId>{16D9F66E-5EB9-4882-86FB-DCBF35E3C3E4}</a:tableStyleId>
              </a:tblPr>
              <a:tblGrid>
                <a:gridCol w="2285471">
                  <a:extLst>
                    <a:ext uri="{9D8B030D-6E8A-4147-A177-3AD203B41FA5}">
                      <a16:colId xmlns:a16="http://schemas.microsoft.com/office/drawing/2014/main" val="824647380"/>
                    </a:ext>
                  </a:extLst>
                </a:gridCol>
                <a:gridCol w="307125">
                  <a:extLst>
                    <a:ext uri="{9D8B030D-6E8A-4147-A177-3AD203B41FA5}">
                      <a16:colId xmlns:a16="http://schemas.microsoft.com/office/drawing/2014/main" val="3682299074"/>
                    </a:ext>
                  </a:extLst>
                </a:gridCol>
                <a:gridCol w="455774">
                  <a:extLst>
                    <a:ext uri="{9D8B030D-6E8A-4147-A177-3AD203B41FA5}">
                      <a16:colId xmlns:a16="http://schemas.microsoft.com/office/drawing/2014/main" val="3888317272"/>
                    </a:ext>
                  </a:extLst>
                </a:gridCol>
                <a:gridCol w="2285471">
                  <a:extLst>
                    <a:ext uri="{9D8B030D-6E8A-4147-A177-3AD203B41FA5}">
                      <a16:colId xmlns:a16="http://schemas.microsoft.com/office/drawing/2014/main" val="2602980325"/>
                    </a:ext>
                  </a:extLst>
                </a:gridCol>
              </a:tblGrid>
              <a:tr h="498351"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 b="0" i="0" u="none" strike="noStrike" noProof="0" dirty="0">
                          <a:solidFill>
                            <a:srgbClr val="10395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ome guidelines to follow on a day-to-day basis</a:t>
                      </a:r>
                    </a:p>
                  </a:txBody>
                  <a:tcPr marL="6349" marR="6349" marT="63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2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419" marR="91419" marT="45709" marB="4570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419" marR="91419" marT="45709" marB="4570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GB" sz="14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B94707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523" marR="9523" marT="9523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7599959"/>
                  </a:ext>
                </a:extLst>
              </a:tr>
              <a:tr h="498351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GB" sz="1100" b="0" i="0" u="none" strike="noStrike" kern="1200" noProof="0">
                          <a:solidFill>
                            <a:srgbClr val="103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 drug treatment</a:t>
                      </a:r>
                      <a:endParaRPr lang="en-GB" sz="1100" b="0" i="0" u="none" strike="noStrike" kern="1200" noProof="0" dirty="0">
                        <a:solidFill>
                          <a:srgbClr val="103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349" marR="6349" marT="63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75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A5A5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1419" marR="91419" marT="45709" marB="45709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419" marR="91419" marT="45709" marB="45709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GB" sz="14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B94707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523" marR="9523" marT="9523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1803445"/>
                  </a:ext>
                </a:extLst>
              </a:tr>
              <a:tr h="498351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GB" sz="1100" b="0" i="0" u="none" strike="noStrike" kern="1200" noProof="0">
                          <a:solidFill>
                            <a:srgbClr val="103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n alarm system</a:t>
                      </a:r>
                      <a:endParaRPr lang="en-GB" sz="1100" b="0" i="0" u="none" strike="noStrike" kern="1200" noProof="0" dirty="0">
                        <a:solidFill>
                          <a:srgbClr val="103959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349" marR="6349" marT="63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75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A5A5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1419" marR="91419" marT="45709" marB="45709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419" marR="91419" marT="45709" marB="45709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GB" sz="14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B94707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523" marR="9523" marT="9523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133795"/>
                  </a:ext>
                </a:extLst>
              </a:tr>
              <a:tr h="498351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GB" sz="1100" b="0" i="0" u="none" strike="noStrike" kern="1200" noProof="0" dirty="0">
                          <a:solidFill>
                            <a:srgbClr val="103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We were referred to a specialist</a:t>
                      </a:r>
                    </a:p>
                  </a:txBody>
                  <a:tcPr marL="6349" marR="6349" marT="63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75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A5A5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1419" marR="91419" marT="45709" marB="45709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419" marR="91419" marT="45709" marB="45709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GB" sz="14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B94707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523" marR="9523" marT="9523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2489590"/>
                  </a:ext>
                </a:extLst>
              </a:tr>
              <a:tr h="498351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GB" sz="1100" b="0" i="0" u="none" strike="noStrike" kern="1200" noProof="0" dirty="0">
                          <a:solidFill>
                            <a:srgbClr val="103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commended that we see a psychologist</a:t>
                      </a:r>
                    </a:p>
                  </a:txBody>
                  <a:tcPr marL="6349" marR="6349" marT="63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75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A5A5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1419" marR="91419" marT="45709" marB="45709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419" marR="91419" marT="45709" marB="45709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GB" sz="14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B94707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523" marR="9523" marT="9523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087383"/>
                  </a:ext>
                </a:extLst>
              </a:tr>
              <a:tr h="498351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GB" sz="1100" b="0" i="0" u="none" strike="noStrike" kern="1200" noProof="0" dirty="0">
                          <a:solidFill>
                            <a:srgbClr val="103959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We received no instructions </a:t>
                      </a:r>
                    </a:p>
                  </a:txBody>
                  <a:tcPr marL="6349" marR="6349" marT="63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75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A5A5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1419" marR="91419" marT="45709" marB="45709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1419" marR="91419" marT="45709" marB="45709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kumimoji="0" lang="en-GB" sz="14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B94707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523" marR="9523" marT="9523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1746448"/>
                  </a:ext>
                </a:extLst>
              </a:tr>
            </a:tbl>
          </a:graphicData>
        </a:graphic>
      </p:graphicFrame>
      <p:graphicFrame>
        <p:nvGraphicFramePr>
          <p:cNvPr id="58" name="Gráfico 57">
            <a:extLst>
              <a:ext uri="{FF2B5EF4-FFF2-40B4-BE49-F238E27FC236}">
                <a16:creationId xmlns:a16="http://schemas.microsoft.com/office/drawing/2014/main" id="{3B341C76-CEC5-410B-9D1C-D77A0EFB00C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71227440"/>
              </p:ext>
            </p:extLst>
          </p:nvPr>
        </p:nvGraphicFramePr>
        <p:xfrm>
          <a:off x="2787533" y="2691589"/>
          <a:ext cx="3083243" cy="35318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9" name="Elipse 58">
            <a:extLst>
              <a:ext uri="{FF2B5EF4-FFF2-40B4-BE49-F238E27FC236}">
                <a16:creationId xmlns:a16="http://schemas.microsoft.com/office/drawing/2014/main" id="{029FFF0B-50BA-4344-8924-056A3EE07BC6}"/>
              </a:ext>
            </a:extLst>
          </p:cNvPr>
          <p:cNvSpPr/>
          <p:nvPr/>
        </p:nvSpPr>
        <p:spPr>
          <a:xfrm>
            <a:off x="858474" y="5419551"/>
            <a:ext cx="2292229" cy="547759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4" name="Elipse 63">
            <a:extLst>
              <a:ext uri="{FF2B5EF4-FFF2-40B4-BE49-F238E27FC236}">
                <a16:creationId xmlns:a16="http://schemas.microsoft.com/office/drawing/2014/main" id="{6A957994-9DD2-49C6-8B94-5AE59E02B1EC}"/>
              </a:ext>
            </a:extLst>
          </p:cNvPr>
          <p:cNvSpPr/>
          <p:nvPr/>
        </p:nvSpPr>
        <p:spPr>
          <a:xfrm>
            <a:off x="3549819" y="3597191"/>
            <a:ext cx="488841" cy="344473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5" name="CuadroTexto 64">
            <a:extLst>
              <a:ext uri="{FF2B5EF4-FFF2-40B4-BE49-F238E27FC236}">
                <a16:creationId xmlns:a16="http://schemas.microsoft.com/office/drawing/2014/main" id="{2E500BC7-290E-419E-9EA7-2FB9C8920738}"/>
              </a:ext>
            </a:extLst>
          </p:cNvPr>
          <p:cNvSpPr txBox="1"/>
          <p:nvPr/>
        </p:nvSpPr>
        <p:spPr>
          <a:xfrm>
            <a:off x="6030167" y="2180880"/>
            <a:ext cx="4785091" cy="584775"/>
          </a:xfrm>
          <a:prstGeom prst="rect">
            <a:avLst/>
          </a:prstGeom>
          <a:solidFill>
            <a:srgbClr val="103959"/>
          </a:solidFill>
          <a:ln w="38100">
            <a:solidFill>
              <a:srgbClr val="90CBF1"/>
            </a:solidFill>
            <a:prstDash val="dash"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smopressin treatment in children with NE is considered:</a:t>
            </a:r>
          </a:p>
        </p:txBody>
      </p:sp>
      <p:grpSp>
        <p:nvGrpSpPr>
          <p:cNvPr id="21" name="Grupo 20">
            <a:extLst>
              <a:ext uri="{FF2B5EF4-FFF2-40B4-BE49-F238E27FC236}">
                <a16:creationId xmlns:a16="http://schemas.microsoft.com/office/drawing/2014/main" id="{1C66B7EB-894D-45AE-8FC5-AD4E41D3336C}"/>
              </a:ext>
            </a:extLst>
          </p:cNvPr>
          <p:cNvGrpSpPr/>
          <p:nvPr/>
        </p:nvGrpSpPr>
        <p:grpSpPr>
          <a:xfrm>
            <a:off x="6049217" y="2947732"/>
            <a:ext cx="5745347" cy="3331047"/>
            <a:chOff x="6049217" y="2947732"/>
            <a:chExt cx="5745347" cy="3331047"/>
          </a:xfrm>
        </p:grpSpPr>
        <p:sp>
          <p:nvSpPr>
            <p:cNvPr id="74" name="CuadroTexto 73">
              <a:extLst>
                <a:ext uri="{FF2B5EF4-FFF2-40B4-BE49-F238E27FC236}">
                  <a16:creationId xmlns:a16="http://schemas.microsoft.com/office/drawing/2014/main" id="{453AC516-B720-477B-89F0-E1F024E8B373}"/>
                </a:ext>
              </a:extLst>
            </p:cNvPr>
            <p:cNvSpPr txBox="1"/>
            <p:nvPr/>
          </p:nvSpPr>
          <p:spPr>
            <a:xfrm>
              <a:off x="8412186" y="5307658"/>
              <a:ext cx="45472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1039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</a:t>
              </a:r>
            </a:p>
          </p:txBody>
        </p:sp>
        <p:cxnSp>
          <p:nvCxnSpPr>
            <p:cNvPr id="66" name="Conector recto 65">
              <a:extLst>
                <a:ext uri="{FF2B5EF4-FFF2-40B4-BE49-F238E27FC236}">
                  <a16:creationId xmlns:a16="http://schemas.microsoft.com/office/drawing/2014/main" id="{BB4661FB-DF81-467A-9823-2176FDB35E05}"/>
                </a:ext>
              </a:extLst>
            </p:cNvPr>
            <p:cNvCxnSpPr>
              <a:cxnSpLocks/>
            </p:cNvCxnSpPr>
            <p:nvPr/>
          </p:nvCxnSpPr>
          <p:spPr>
            <a:xfrm>
              <a:off x="8549346" y="2947732"/>
              <a:ext cx="0" cy="2377440"/>
            </a:xfrm>
            <a:prstGeom prst="line">
              <a:avLst/>
            </a:prstGeom>
            <a:ln w="38100">
              <a:solidFill>
                <a:srgbClr val="90CBF1"/>
              </a:solidFill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67" name="Conector recto 66">
              <a:extLst>
                <a:ext uri="{FF2B5EF4-FFF2-40B4-BE49-F238E27FC236}">
                  <a16:creationId xmlns:a16="http://schemas.microsoft.com/office/drawing/2014/main" id="{EEB1291F-6AE0-4CD8-9BAF-231FF66D5C0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412186" y="5160138"/>
              <a:ext cx="2713276" cy="0"/>
            </a:xfrm>
            <a:prstGeom prst="line">
              <a:avLst/>
            </a:prstGeom>
            <a:ln w="38100">
              <a:solidFill>
                <a:srgbClr val="90CBF1"/>
              </a:solidFill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68" name="Rectángulo 67">
              <a:extLst>
                <a:ext uri="{FF2B5EF4-FFF2-40B4-BE49-F238E27FC236}">
                  <a16:creationId xmlns:a16="http://schemas.microsoft.com/office/drawing/2014/main" id="{8E2CC6B8-A0A5-497D-8247-1E4B48665A2A}"/>
                </a:ext>
              </a:extLst>
            </p:cNvPr>
            <p:cNvSpPr/>
            <p:nvPr/>
          </p:nvSpPr>
          <p:spPr>
            <a:xfrm>
              <a:off x="8562409" y="3445460"/>
              <a:ext cx="1850562" cy="246221"/>
            </a:xfrm>
            <a:prstGeom prst="rect">
              <a:avLst/>
            </a:prstGeom>
            <a:solidFill>
              <a:srgbClr val="103959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9" name="Rectángulo 68">
              <a:extLst>
                <a:ext uri="{FF2B5EF4-FFF2-40B4-BE49-F238E27FC236}">
                  <a16:creationId xmlns:a16="http://schemas.microsoft.com/office/drawing/2014/main" id="{E542CC7A-D1B6-4165-82EA-DC710E6875C2}"/>
                </a:ext>
              </a:extLst>
            </p:cNvPr>
            <p:cNvSpPr/>
            <p:nvPr/>
          </p:nvSpPr>
          <p:spPr>
            <a:xfrm>
              <a:off x="8562409" y="4085730"/>
              <a:ext cx="835563" cy="257936"/>
            </a:xfrm>
            <a:prstGeom prst="rect">
              <a:avLst/>
            </a:prstGeom>
            <a:solidFill>
              <a:srgbClr val="103959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0" name="Rectángulo 69">
              <a:extLst>
                <a:ext uri="{FF2B5EF4-FFF2-40B4-BE49-F238E27FC236}">
                  <a16:creationId xmlns:a16="http://schemas.microsoft.com/office/drawing/2014/main" id="{3EF37DCB-EE52-4F59-AD17-0023AA9D5AD2}"/>
                </a:ext>
              </a:extLst>
            </p:cNvPr>
            <p:cNvSpPr/>
            <p:nvPr/>
          </p:nvSpPr>
          <p:spPr>
            <a:xfrm>
              <a:off x="8562409" y="4717173"/>
              <a:ext cx="507443" cy="246222"/>
            </a:xfrm>
            <a:prstGeom prst="rect">
              <a:avLst/>
            </a:prstGeom>
            <a:solidFill>
              <a:srgbClr val="103959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1" name="CuadroTexto 70">
              <a:extLst>
                <a:ext uri="{FF2B5EF4-FFF2-40B4-BE49-F238E27FC236}">
                  <a16:creationId xmlns:a16="http://schemas.microsoft.com/office/drawing/2014/main" id="{8816E3F1-2FD1-40A0-9D0A-797F1DAF72EF}"/>
                </a:ext>
              </a:extLst>
            </p:cNvPr>
            <p:cNvSpPr txBox="1"/>
            <p:nvPr/>
          </p:nvSpPr>
          <p:spPr>
            <a:xfrm>
              <a:off x="6615156" y="3282183"/>
              <a:ext cx="195186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03959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A </a:t>
              </a:r>
              <a:r>
                <a:rPr kumimoji="0" lang="es-E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03959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therapeutic</a:t>
              </a:r>
              <a:r>
                <a:rPr kumimoji="0" lang="es-E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03959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</a:t>
              </a:r>
              <a:r>
                <a:rPr kumimoji="0" lang="es-E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03959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option</a:t>
              </a:r>
              <a:r>
                <a:rPr kumimoji="0" lang="es-E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03959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from 5 years of age</a:t>
              </a:r>
            </a:p>
          </p:txBody>
        </p:sp>
        <p:sp>
          <p:nvSpPr>
            <p:cNvPr id="72" name="CuadroTexto 71">
              <a:extLst>
                <a:ext uri="{FF2B5EF4-FFF2-40B4-BE49-F238E27FC236}">
                  <a16:creationId xmlns:a16="http://schemas.microsoft.com/office/drawing/2014/main" id="{ABC1F15E-3C3F-4C61-A53A-2A4471947307}"/>
                </a:ext>
              </a:extLst>
            </p:cNvPr>
            <p:cNvSpPr txBox="1"/>
            <p:nvPr/>
          </p:nvSpPr>
          <p:spPr>
            <a:xfrm>
              <a:off x="6722992" y="3936037"/>
              <a:ext cx="180014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03959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A therapeutic option, but only from 10 years of age</a:t>
              </a:r>
            </a:p>
          </p:txBody>
        </p:sp>
        <p:sp>
          <p:nvSpPr>
            <p:cNvPr id="73" name="CuadroTexto 72">
              <a:extLst>
                <a:ext uri="{FF2B5EF4-FFF2-40B4-BE49-F238E27FC236}">
                  <a16:creationId xmlns:a16="http://schemas.microsoft.com/office/drawing/2014/main" id="{F7CAEF97-BA1B-4D7F-B6B6-63D9E26F0770}"/>
                </a:ext>
              </a:extLst>
            </p:cNvPr>
            <p:cNvSpPr txBox="1"/>
            <p:nvPr/>
          </p:nvSpPr>
          <p:spPr>
            <a:xfrm>
              <a:off x="6445944" y="4609380"/>
              <a:ext cx="201894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03959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Only as an alternative when the alarm system fails</a:t>
              </a:r>
            </a:p>
          </p:txBody>
        </p:sp>
        <p:cxnSp>
          <p:nvCxnSpPr>
            <p:cNvPr id="75" name="Conector recto 74">
              <a:extLst>
                <a:ext uri="{FF2B5EF4-FFF2-40B4-BE49-F238E27FC236}">
                  <a16:creationId xmlns:a16="http://schemas.microsoft.com/office/drawing/2014/main" id="{83B899C6-5A40-466C-99A5-9F0CC6FD6DCF}"/>
                </a:ext>
              </a:extLst>
            </p:cNvPr>
            <p:cNvCxnSpPr/>
            <p:nvPr/>
          </p:nvCxnSpPr>
          <p:spPr>
            <a:xfrm>
              <a:off x="9235146" y="5187301"/>
              <a:ext cx="0" cy="9334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Conector recto 75">
              <a:extLst>
                <a:ext uri="{FF2B5EF4-FFF2-40B4-BE49-F238E27FC236}">
                  <a16:creationId xmlns:a16="http://schemas.microsoft.com/office/drawing/2014/main" id="{3FC1934C-2B65-425E-889B-6E5D233C94D1}"/>
                </a:ext>
              </a:extLst>
            </p:cNvPr>
            <p:cNvCxnSpPr/>
            <p:nvPr/>
          </p:nvCxnSpPr>
          <p:spPr>
            <a:xfrm>
              <a:off x="9907883" y="5187301"/>
              <a:ext cx="0" cy="9334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Conector recto 76">
              <a:extLst>
                <a:ext uri="{FF2B5EF4-FFF2-40B4-BE49-F238E27FC236}">
                  <a16:creationId xmlns:a16="http://schemas.microsoft.com/office/drawing/2014/main" id="{1B08251C-26D0-410F-BD15-CA5C90300B7D}"/>
                </a:ext>
              </a:extLst>
            </p:cNvPr>
            <p:cNvCxnSpPr/>
            <p:nvPr/>
          </p:nvCxnSpPr>
          <p:spPr>
            <a:xfrm>
              <a:off x="10503207" y="5187301"/>
              <a:ext cx="0" cy="9334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CuadroTexto 77">
              <a:extLst>
                <a:ext uri="{FF2B5EF4-FFF2-40B4-BE49-F238E27FC236}">
                  <a16:creationId xmlns:a16="http://schemas.microsoft.com/office/drawing/2014/main" id="{AF3E0DB2-9BDD-4EBD-A379-838296050497}"/>
                </a:ext>
              </a:extLst>
            </p:cNvPr>
            <p:cNvSpPr txBox="1"/>
            <p:nvPr/>
          </p:nvSpPr>
          <p:spPr>
            <a:xfrm>
              <a:off x="10392142" y="3458966"/>
              <a:ext cx="140242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103959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258 (60%)</a:t>
              </a:r>
            </a:p>
          </p:txBody>
        </p:sp>
        <p:sp>
          <p:nvSpPr>
            <p:cNvPr id="79" name="CuadroTexto 78">
              <a:extLst>
                <a:ext uri="{FF2B5EF4-FFF2-40B4-BE49-F238E27FC236}">
                  <a16:creationId xmlns:a16="http://schemas.microsoft.com/office/drawing/2014/main" id="{7B236124-03E5-4634-B04A-B77C965C8943}"/>
                </a:ext>
              </a:extLst>
            </p:cNvPr>
            <p:cNvSpPr txBox="1"/>
            <p:nvPr/>
          </p:nvSpPr>
          <p:spPr>
            <a:xfrm>
              <a:off x="9397972" y="4114337"/>
              <a:ext cx="140242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103959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105 (24.4%)</a:t>
              </a:r>
            </a:p>
          </p:txBody>
        </p:sp>
        <p:sp>
          <p:nvSpPr>
            <p:cNvPr id="80" name="CuadroTexto 79">
              <a:extLst>
                <a:ext uri="{FF2B5EF4-FFF2-40B4-BE49-F238E27FC236}">
                  <a16:creationId xmlns:a16="http://schemas.microsoft.com/office/drawing/2014/main" id="{2E352873-E156-4853-BE80-D07BC4C1E8EB}"/>
                </a:ext>
              </a:extLst>
            </p:cNvPr>
            <p:cNvSpPr txBox="1"/>
            <p:nvPr/>
          </p:nvSpPr>
          <p:spPr>
            <a:xfrm>
              <a:off x="9096772" y="4717047"/>
              <a:ext cx="140242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103959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67 (15.6%)</a:t>
              </a:r>
            </a:p>
          </p:txBody>
        </p:sp>
        <p:sp>
          <p:nvSpPr>
            <p:cNvPr id="81" name="Rectángulo 80">
              <a:extLst>
                <a:ext uri="{FF2B5EF4-FFF2-40B4-BE49-F238E27FC236}">
                  <a16:creationId xmlns:a16="http://schemas.microsoft.com/office/drawing/2014/main" id="{F8C5AF7B-84CB-4399-BC63-D389039EA6FE}"/>
                </a:ext>
              </a:extLst>
            </p:cNvPr>
            <p:cNvSpPr/>
            <p:nvPr/>
          </p:nvSpPr>
          <p:spPr>
            <a:xfrm>
              <a:off x="6049217" y="5971002"/>
              <a:ext cx="643125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1400" dirty="0">
                  <a:latin typeface="Calibri" panose="020F0502020204030204" pitchFamily="34" charset="0"/>
                  <a:cs typeface="Calibri" panose="020F0502020204030204" pitchFamily="34" charset="0"/>
                </a:rPr>
                <a:t>n</a:t>
              </a:r>
              <a:r>
                <a:rPr kumimoji="0" lang="es-E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=430</a:t>
              </a:r>
            </a:p>
          </p:txBody>
        </p:sp>
      </p:grpSp>
      <p:sp>
        <p:nvSpPr>
          <p:cNvPr id="83" name="Text Box 12">
            <a:extLst>
              <a:ext uri="{FF2B5EF4-FFF2-40B4-BE49-F238E27FC236}">
                <a16:creationId xmlns:a16="http://schemas.microsoft.com/office/drawing/2014/main" id="{6DAE5C05-5D5C-4BD3-845D-387090495E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2571" y="6001711"/>
            <a:ext cx="510976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de-DE"/>
            </a:defPPr>
            <a:lvl1pPr>
              <a:lnSpc>
                <a:spcPct val="80000"/>
              </a:lnSpc>
              <a:spcBef>
                <a:spcPct val="50000"/>
              </a:spcBef>
              <a:defRPr sz="800">
                <a:solidFill>
                  <a:srgbClr val="000000"/>
                </a:solidFill>
                <a:latin typeface="Lucida San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>
                <a:solidFill>
                  <a:srgbClr val="5A5A5A"/>
                </a:solidFill>
                <a:latin typeface="Calibri" panose="020F0502020204030204" pitchFamily="34" charset="0"/>
              </a:rPr>
              <a:t>n</a:t>
            </a:r>
            <a:r>
              <a:rPr kumimoji="0" lang="en-GB" sz="1400" b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=88 parents of children with current or past enuresis n = 88 </a:t>
            </a:r>
          </a:p>
        </p:txBody>
      </p:sp>
      <p:sp>
        <p:nvSpPr>
          <p:cNvPr id="84" name="CuadroTexto 83">
            <a:extLst>
              <a:ext uri="{FF2B5EF4-FFF2-40B4-BE49-F238E27FC236}">
                <a16:creationId xmlns:a16="http://schemas.microsoft.com/office/drawing/2014/main" id="{B34B057D-3A8A-4480-9D91-041558FADB08}"/>
              </a:ext>
            </a:extLst>
          </p:cNvPr>
          <p:cNvSpPr txBox="1"/>
          <p:nvPr/>
        </p:nvSpPr>
        <p:spPr>
          <a:xfrm>
            <a:off x="10392142" y="6250117"/>
            <a:ext cx="156863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nocturnal enuresis.</a:t>
            </a:r>
          </a:p>
        </p:txBody>
      </p:sp>
      <p:sp>
        <p:nvSpPr>
          <p:cNvPr id="40" name="Rectángulo 4">
            <a:extLst>
              <a:ext uri="{FF2B5EF4-FFF2-40B4-BE49-F238E27FC236}">
                <a16:creationId xmlns:a16="http://schemas.microsoft.com/office/drawing/2014/main" id="{A75F558A-A9BE-4612-A2D6-2A2E184FA548}"/>
              </a:ext>
            </a:extLst>
          </p:cNvPr>
          <p:cNvSpPr/>
          <p:nvPr/>
        </p:nvSpPr>
        <p:spPr>
          <a:xfrm>
            <a:off x="365259" y="6332937"/>
            <a:ext cx="772670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103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. Martínez V,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103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ostal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103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M.I.,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103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astre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103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M.J., </a:t>
            </a:r>
            <a:r>
              <a:rPr kumimoji="0" lang="en-GB" sz="800" b="0" i="1" u="none" strike="noStrike" kern="1200" cap="none" spc="0" normalizeH="0" baseline="0" noProof="0" dirty="0">
                <a:ln>
                  <a:noFill/>
                </a:ln>
                <a:solidFill>
                  <a:srgbClr val="103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t al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103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 Enuresis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103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octurna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103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: una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103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puesta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103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para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103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ptimizar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103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103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u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103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103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anejo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103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(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103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arte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103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II). Acta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103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ediatr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103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Esp. 2021; 78 (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103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upl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103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 1): 1-12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103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. Quantitative market study on enuresis in the general population conducted by PSYMA, June 2021</a:t>
            </a:r>
          </a:p>
        </p:txBody>
      </p:sp>
      <p:sp>
        <p:nvSpPr>
          <p:cNvPr id="42" name="Marcador de texto 1">
            <a:extLst>
              <a:ext uri="{FF2B5EF4-FFF2-40B4-BE49-F238E27FC236}">
                <a16:creationId xmlns:a16="http://schemas.microsoft.com/office/drawing/2014/main" id="{CEE6B226-15F0-4FAC-81B4-3D8425D11926}"/>
              </a:ext>
            </a:extLst>
          </p:cNvPr>
          <p:cNvSpPr txBox="1">
            <a:spLocks/>
          </p:cNvSpPr>
          <p:nvPr/>
        </p:nvSpPr>
        <p:spPr>
          <a:xfrm>
            <a:off x="315350" y="723997"/>
            <a:ext cx="11245068" cy="5379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8125" indent="-2238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4338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6738" indent="-152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381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8CE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2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2145C8E4-BA38-41F2-8500-36111FE9A9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b="1" dirty="0">
                <a:solidFill>
                  <a:srgbClr val="0070C0"/>
                </a:solidFill>
              </a:rPr>
              <a:t>A quarter of families receive no instructions when consulting the doctor about bedwetting</a:t>
            </a:r>
            <a:br>
              <a:rPr lang="en-GB" sz="3200" dirty="0"/>
            </a:br>
            <a:r>
              <a:rPr lang="en-US" sz="2000" dirty="0"/>
              <a:t>Survey results from HCP </a:t>
            </a:r>
            <a:r>
              <a:rPr lang="en-US" sz="2000" dirty="0" err="1"/>
              <a:t>paediatrician</a:t>
            </a:r>
            <a:r>
              <a:rPr lang="en-US" sz="2000" dirty="0"/>
              <a:t> responses and parents of children aged 5–13 years (June 2021)</a:t>
            </a:r>
            <a:endParaRPr lang="en-CA" sz="3200" dirty="0"/>
          </a:p>
        </p:txBody>
      </p:sp>
      <p:sp>
        <p:nvSpPr>
          <p:cNvPr id="5" name="CuadroTexto 73">
            <a:extLst>
              <a:ext uri="{FF2B5EF4-FFF2-40B4-BE49-F238E27FC236}">
                <a16:creationId xmlns:a16="http://schemas.microsoft.com/office/drawing/2014/main" id="{0F8825FF-9966-44BA-7E8A-EAD821BFB5C4}"/>
              </a:ext>
            </a:extLst>
          </p:cNvPr>
          <p:cNvSpPr txBox="1"/>
          <p:nvPr/>
        </p:nvSpPr>
        <p:spPr>
          <a:xfrm>
            <a:off x="9004070" y="5321935"/>
            <a:ext cx="6488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1039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</a:t>
            </a:r>
          </a:p>
        </p:txBody>
      </p:sp>
      <p:sp>
        <p:nvSpPr>
          <p:cNvPr id="6" name="CuadroTexto 73">
            <a:extLst>
              <a:ext uri="{FF2B5EF4-FFF2-40B4-BE49-F238E27FC236}">
                <a16:creationId xmlns:a16="http://schemas.microsoft.com/office/drawing/2014/main" id="{25B1225C-B5E5-F3C4-D046-D2C4C3B0A91B}"/>
              </a:ext>
            </a:extLst>
          </p:cNvPr>
          <p:cNvSpPr txBox="1"/>
          <p:nvPr/>
        </p:nvSpPr>
        <p:spPr>
          <a:xfrm>
            <a:off x="9681557" y="5327560"/>
            <a:ext cx="6488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400" b="1" dirty="0">
                <a:solidFill>
                  <a:srgbClr val="103959"/>
                </a:solidFill>
                <a:latin typeface="Arial" panose="020B0604020202020204"/>
              </a:rPr>
              <a:t>2</a:t>
            </a:r>
            <a:r>
              <a: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1039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</a:p>
        </p:txBody>
      </p:sp>
      <p:sp>
        <p:nvSpPr>
          <p:cNvPr id="7" name="CuadroTexto 73">
            <a:extLst>
              <a:ext uri="{FF2B5EF4-FFF2-40B4-BE49-F238E27FC236}">
                <a16:creationId xmlns:a16="http://schemas.microsoft.com/office/drawing/2014/main" id="{428F6089-84DA-51B3-4D88-09A088E2218D}"/>
              </a:ext>
            </a:extLst>
          </p:cNvPr>
          <p:cNvSpPr txBox="1"/>
          <p:nvPr/>
        </p:nvSpPr>
        <p:spPr>
          <a:xfrm>
            <a:off x="10268439" y="5321935"/>
            <a:ext cx="6488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1039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</a:t>
            </a:r>
          </a:p>
        </p:txBody>
      </p:sp>
    </p:spTree>
    <p:extLst>
      <p:ext uri="{BB962C8B-B14F-4D97-AF65-F5344CB8AC3E}">
        <p14:creationId xmlns:p14="http://schemas.microsoft.com/office/powerpoint/2010/main" val="4041638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 animBg="1"/>
      <p:bldP spid="6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tbi3hOSBulZZPhQn.9K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7wAfoUSYSGlESKEQQJL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IB8f8XRI2iogdzMijoW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0SFYgqSmCLIn4FDqNhy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GxS4gvQge.h38w8W8Xl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0SFYgqSmCLIn4FDqNhy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yTjFazRyKUkYmIW9Uqw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9a.4WPMR6.9ZGrS1DnGw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fRn278RmeAdJGcCJ8qI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jU0UqVTn6V4pPhzbiAT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C49xhlSlipYC2z.9ddn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iuOqR2QGmC5BxvDjqWb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pNXKy.RXavzjoYftF9_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ZbQ9rxQKqSdvDd84D4l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v9rpLjQqKK9KN_M16r8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PKVvbVQjOuulijEevHP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nQGy0pTE2O966irRPKR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D9A78"/>
      </a:accent1>
      <a:accent2>
        <a:srgbClr val="8BC145"/>
      </a:accent2>
      <a:accent3>
        <a:srgbClr val="36AFCE"/>
      </a:accent3>
      <a:accent4>
        <a:srgbClr val="1D6FA9"/>
      </a:accent4>
      <a:accent5>
        <a:srgbClr val="B74919"/>
      </a:accent5>
      <a:accent6>
        <a:srgbClr val="F19D19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AE6F2518-B084-4896-AF52-66CC2144AA2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85</TotalTime>
  <Words>473</Words>
  <Application>Microsoft Office PowerPoint</Application>
  <PresentationFormat>Widescreen</PresentationFormat>
  <Paragraphs>54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Calibri</vt:lpstr>
      <vt:lpstr>Calibri Light</vt:lpstr>
      <vt:lpstr>Office Theme</vt:lpstr>
      <vt:lpstr>think-cell Slide</vt:lpstr>
      <vt:lpstr>Only 70% of families seek advice for bedwetting from the family physician</vt:lpstr>
      <vt:lpstr>A quarter of families receive no instructions when consulting the doctor about bedwetting Survey results from HCP paediatrician responses and parents of children aged 5–13 years (June 2021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ladder &amp; Bowel UK Bedwetting Survey May 2022</dc:title>
  <dc:creator>Chamy, Caroline</dc:creator>
  <cp:lastModifiedBy>CL</cp:lastModifiedBy>
  <cp:revision>7</cp:revision>
  <dcterms:created xsi:type="dcterms:W3CDTF">2023-05-17T12:29:37Z</dcterms:created>
  <dcterms:modified xsi:type="dcterms:W3CDTF">2023-05-19T12:21:33Z</dcterms:modified>
</cp:coreProperties>
</file>